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35"/>
  </p:notesMasterIdLst>
  <p:sldIdLst>
    <p:sldId id="4562" r:id="rId3"/>
    <p:sldId id="4563" r:id="rId4"/>
    <p:sldId id="4564" r:id="rId5"/>
    <p:sldId id="4565" r:id="rId6"/>
    <p:sldId id="4566" r:id="rId7"/>
    <p:sldId id="4567" r:id="rId8"/>
    <p:sldId id="4568" r:id="rId9"/>
    <p:sldId id="4569" r:id="rId10"/>
    <p:sldId id="4570" r:id="rId11"/>
    <p:sldId id="4571" r:id="rId12"/>
    <p:sldId id="4572" r:id="rId13"/>
    <p:sldId id="4573" r:id="rId14"/>
    <p:sldId id="4574" r:id="rId15"/>
    <p:sldId id="4575" r:id="rId16"/>
    <p:sldId id="4576" r:id="rId17"/>
    <p:sldId id="4577" r:id="rId18"/>
    <p:sldId id="4578" r:id="rId19"/>
    <p:sldId id="4579" r:id="rId20"/>
    <p:sldId id="4580" r:id="rId21"/>
    <p:sldId id="4581" r:id="rId22"/>
    <p:sldId id="4582" r:id="rId23"/>
    <p:sldId id="4583" r:id="rId24"/>
    <p:sldId id="4584" r:id="rId25"/>
    <p:sldId id="4585" r:id="rId26"/>
    <p:sldId id="4586" r:id="rId27"/>
    <p:sldId id="4587" r:id="rId28"/>
    <p:sldId id="4588" r:id="rId29"/>
    <p:sldId id="4589" r:id="rId30"/>
    <p:sldId id="4590" r:id="rId31"/>
    <p:sldId id="4591" r:id="rId32"/>
    <p:sldId id="4592" r:id="rId33"/>
    <p:sldId id="4593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D31145"/>
    <a:srgbClr val="4472C4"/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6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8</c:v>
                </c:pt>
                <c:pt idx="21">
                  <c:v>920</c:v>
                </c:pt>
                <c:pt idx="22">
                  <c:v>928</c:v>
                </c:pt>
                <c:pt idx="23">
                  <c:v>991</c:v>
                </c:pt>
                <c:pt idx="24">
                  <c:v>1172</c:v>
                </c:pt>
                <c:pt idx="25">
                  <c:v>1293</c:v>
                </c:pt>
                <c:pt idx="26">
                  <c:v>1395</c:v>
                </c:pt>
                <c:pt idx="27">
                  <c:v>1389</c:v>
                </c:pt>
                <c:pt idx="28">
                  <c:v>1577</c:v>
                </c:pt>
                <c:pt idx="29">
                  <c:v>1596</c:v>
                </c:pt>
                <c:pt idx="30">
                  <c:v>1729</c:v>
                </c:pt>
                <c:pt idx="31">
                  <c:v>2101</c:v>
                </c:pt>
                <c:pt idx="32">
                  <c:v>2292</c:v>
                </c:pt>
                <c:pt idx="33">
                  <c:v>2494</c:v>
                </c:pt>
                <c:pt idx="34">
                  <c:v>2657</c:v>
                </c:pt>
                <c:pt idx="35">
                  <c:v>2793</c:v>
                </c:pt>
                <c:pt idx="36">
                  <c:v>2799</c:v>
                </c:pt>
                <c:pt idx="37">
                  <c:v>2949</c:v>
                </c:pt>
                <c:pt idx="38">
                  <c:v>3404</c:v>
                </c:pt>
                <c:pt idx="39">
                  <c:v>3590</c:v>
                </c:pt>
                <c:pt idx="40">
                  <c:v>3737</c:v>
                </c:pt>
                <c:pt idx="41">
                  <c:v>3872</c:v>
                </c:pt>
                <c:pt idx="42">
                  <c:v>4034</c:v>
                </c:pt>
                <c:pt idx="43">
                  <c:v>3929</c:v>
                </c:pt>
                <c:pt idx="44">
                  <c:v>4069</c:v>
                </c:pt>
                <c:pt idx="45">
                  <c:v>4691</c:v>
                </c:pt>
                <c:pt idx="46">
                  <c:v>4723</c:v>
                </c:pt>
                <c:pt idx="47">
                  <c:v>4692</c:v>
                </c:pt>
                <c:pt idx="48">
                  <c:v>5008</c:v>
                </c:pt>
                <c:pt idx="49">
                  <c:v>5100</c:v>
                </c:pt>
                <c:pt idx="50">
                  <c:v>49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</c:v>
                </c:pt>
                <c:pt idx="43">
                  <c:v>4000.7649631137338</c:v>
                </c:pt>
                <c:pt idx="44">
                  <c:v>4126.3636197642336</c:v>
                </c:pt>
                <c:pt idx="45">
                  <c:v>4246.8519586359671</c:v>
                </c:pt>
                <c:pt idx="46">
                  <c:v>4357.7449058198672</c:v>
                </c:pt>
                <c:pt idx="47">
                  <c:v>4461.179832518581</c:v>
                </c:pt>
                <c:pt idx="48">
                  <c:v>4561.4503701634721</c:v>
                </c:pt>
                <c:pt idx="49">
                  <c:v>4660.4655418011025</c:v>
                </c:pt>
                <c:pt idx="50">
                  <c:v>4757.6593438429763</c:v>
                </c:pt>
                <c:pt idx="51">
                  <c:v>4858.1037055510278</c:v>
                </c:pt>
                <c:pt idx="52">
                  <c:v>4955.2698137298612</c:v>
                </c:pt>
                <c:pt idx="53">
                  <c:v>5037.8517188676751</c:v>
                </c:pt>
                <c:pt idx="54">
                  <c:v>5112.8062867582785</c:v>
                </c:pt>
                <c:pt idx="55">
                  <c:v>5184.8357063969961</c:v>
                </c:pt>
                <c:pt idx="56">
                  <c:v>5255.5396750814834</c:v>
                </c:pt>
                <c:pt idx="57">
                  <c:v>5325.5986736883851</c:v>
                </c:pt>
                <c:pt idx="58">
                  <c:v>5394.5302687169533</c:v>
                </c:pt>
                <c:pt idx="59">
                  <c:v>5461.5112579097095</c:v>
                </c:pt>
                <c:pt idx="60">
                  <c:v>5523.1067654692461</c:v>
                </c:pt>
                <c:pt idx="61">
                  <c:v>5579.9682808836278</c:v>
                </c:pt>
                <c:pt idx="62">
                  <c:v>5632.7848342359166</c:v>
                </c:pt>
                <c:pt idx="63">
                  <c:v>5681.9344968879614</c:v>
                </c:pt>
                <c:pt idx="64">
                  <c:v>5726.9117901050677</c:v>
                </c:pt>
                <c:pt idx="65">
                  <c:v>5768.6191703553777</c:v>
                </c:pt>
                <c:pt idx="66">
                  <c:v>5806.3310357463051</c:v>
                </c:pt>
                <c:pt idx="67">
                  <c:v>5840.2229265257074</c:v>
                </c:pt>
                <c:pt idx="68">
                  <c:v>5868.9282885581724</c:v>
                </c:pt>
                <c:pt idx="69">
                  <c:v>5893.066540476213</c:v>
                </c:pt>
                <c:pt idx="70">
                  <c:v>5913.18323794346</c:v>
                </c:pt>
                <c:pt idx="71">
                  <c:v>5927.2707698645754</c:v>
                </c:pt>
                <c:pt idx="72">
                  <c:v>5936.7406334869074</c:v>
                </c:pt>
                <c:pt idx="73">
                  <c:v>5941.7682210099574</c:v>
                </c:pt>
                <c:pt idx="74">
                  <c:v>5941.4840299436837</c:v>
                </c:pt>
                <c:pt idx="75">
                  <c:v>5936.1953895340221</c:v>
                </c:pt>
                <c:pt idx="76">
                  <c:v>5926.0593653684855</c:v>
                </c:pt>
                <c:pt idx="77">
                  <c:v>5911.4925302807624</c:v>
                </c:pt>
                <c:pt idx="78">
                  <c:v>5891.1145246271153</c:v>
                </c:pt>
                <c:pt idx="79">
                  <c:v>5866.1678405466046</c:v>
                </c:pt>
                <c:pt idx="80">
                  <c:v>5836.6640093508622</c:v>
                </c:pt>
                <c:pt idx="81">
                  <c:v>5801.8842766630696</c:v>
                </c:pt>
                <c:pt idx="82">
                  <c:v>5762.0073052004482</c:v>
                </c:pt>
                <c:pt idx="83">
                  <c:v>5718.2310743467169</c:v>
                </c:pt>
                <c:pt idx="84">
                  <c:v>5670.123792015087</c:v>
                </c:pt>
                <c:pt idx="85">
                  <c:v>5616.8306867096635</c:v>
                </c:pt>
                <c:pt idx="86">
                  <c:v>5560.4493417457861</c:v>
                </c:pt>
                <c:pt idx="87">
                  <c:v>5500.5212514270279</c:v>
                </c:pt>
                <c:pt idx="88">
                  <c:v>5434.9249047022322</c:v>
                </c:pt>
                <c:pt idx="89">
                  <c:v>5366.4713539503809</c:v>
                </c:pt>
                <c:pt idx="90">
                  <c:v>5295.1997817793699</c:v>
                </c:pt>
                <c:pt idx="91">
                  <c:v>5220.5883678919126</c:v>
                </c:pt>
                <c:pt idx="92">
                  <c:v>5141.6385683384124</c:v>
                </c:pt>
                <c:pt idx="93">
                  <c:v>5059.7844572957147</c:v>
                </c:pt>
                <c:pt idx="94">
                  <c:v>4975.6441177210781</c:v>
                </c:pt>
                <c:pt idx="95">
                  <c:v>4888.9152696888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86</c:v>
                </c:pt>
                <c:pt idx="43">
                  <c:v>4021.8651703173614</c:v>
                </c:pt>
                <c:pt idx="44">
                  <c:v>4163.0571947267417</c:v>
                </c:pt>
                <c:pt idx="45">
                  <c:v>4302.6712117083389</c:v>
                </c:pt>
                <c:pt idx="46">
                  <c:v>4436.3983667800385</c:v>
                </c:pt>
                <c:pt idx="47">
                  <c:v>4566.3664649222874</c:v>
                </c:pt>
                <c:pt idx="48">
                  <c:v>4696.9225458938072</c:v>
                </c:pt>
                <c:pt idx="49">
                  <c:v>4829.8886898653491</c:v>
                </c:pt>
                <c:pt idx="50">
                  <c:v>4964.6851723175714</c:v>
                </c:pt>
                <c:pt idx="51">
                  <c:v>5106.2691649077642</c:v>
                </c:pt>
                <c:pt idx="52">
                  <c:v>5248.0490617810719</c:v>
                </c:pt>
                <c:pt idx="53">
                  <c:v>5378.5801272190902</c:v>
                </c:pt>
                <c:pt idx="54">
                  <c:v>5504.7041800399757</c:v>
                </c:pt>
                <c:pt idx="55">
                  <c:v>5630.9313152074337</c:v>
                </c:pt>
                <c:pt idx="56">
                  <c:v>5758.5854770970136</c:v>
                </c:pt>
                <c:pt idx="57">
                  <c:v>5887.8355049395104</c:v>
                </c:pt>
                <c:pt idx="58">
                  <c:v>6018.036375473841</c:v>
                </c:pt>
                <c:pt idx="59">
                  <c:v>6148.1174291578536</c:v>
                </c:pt>
                <c:pt idx="60">
                  <c:v>6274.4753812746849</c:v>
                </c:pt>
                <c:pt idx="61">
                  <c:v>6397.4250467610218</c:v>
                </c:pt>
                <c:pt idx="62">
                  <c:v>6517.4063018172365</c:v>
                </c:pt>
                <c:pt idx="63">
                  <c:v>6634.4979616464316</c:v>
                </c:pt>
                <c:pt idx="64">
                  <c:v>6747.838125825444</c:v>
                </c:pt>
                <c:pt idx="65">
                  <c:v>6858.0152150647618</c:v>
                </c:pt>
                <c:pt idx="66">
                  <c:v>6964.0475227458228</c:v>
                </c:pt>
                <c:pt idx="67">
                  <c:v>7065.8127870876524</c:v>
                </c:pt>
                <c:pt idx="68">
                  <c:v>7161.6785672445494</c:v>
                </c:pt>
                <c:pt idx="69">
                  <c:v>7251.9875202189996</c:v>
                </c:pt>
                <c:pt idx="70">
                  <c:v>7336.997413029294</c:v>
                </c:pt>
                <c:pt idx="71">
                  <c:v>7414.4261695508612</c:v>
                </c:pt>
                <c:pt idx="72">
                  <c:v>7485.402072432893</c:v>
                </c:pt>
                <c:pt idx="73">
                  <c:v>7549.8552017784705</c:v>
                </c:pt>
                <c:pt idx="74">
                  <c:v>7606.6812658407434</c:v>
                </c:pt>
                <c:pt idx="75">
                  <c:v>7655.9601133157557</c:v>
                </c:pt>
                <c:pt idx="76">
                  <c:v>7697.6356567036773</c:v>
                </c:pt>
                <c:pt idx="77">
                  <c:v>7731.9422521323904</c:v>
                </c:pt>
                <c:pt idx="78">
                  <c:v>7757.3172289474405</c:v>
                </c:pt>
                <c:pt idx="79">
                  <c:v>7774.8523594207963</c:v>
                </c:pt>
                <c:pt idx="80">
                  <c:v>7784.4222024789406</c:v>
                </c:pt>
                <c:pt idx="81">
                  <c:v>7785.1904771195768</c:v>
                </c:pt>
                <c:pt idx="82">
                  <c:v>7777.230369139661</c:v>
                </c:pt>
                <c:pt idx="83">
                  <c:v>7761.6674912508697</c:v>
                </c:pt>
                <c:pt idx="84">
                  <c:v>7738.0130518590759</c:v>
                </c:pt>
                <c:pt idx="85">
                  <c:v>7705.3756244397227</c:v>
                </c:pt>
                <c:pt idx="86">
                  <c:v>7665.8362387460729</c:v>
                </c:pt>
                <c:pt idx="87">
                  <c:v>7618.93913822186</c:v>
                </c:pt>
                <c:pt idx="88">
                  <c:v>7562.576330895683</c:v>
                </c:pt>
                <c:pt idx="89">
                  <c:v>7499.603342788907</c:v>
                </c:pt>
                <c:pt idx="90">
                  <c:v>7430.108073805879</c:v>
                </c:pt>
                <c:pt idx="91">
                  <c:v>7353.6387736028446</c:v>
                </c:pt>
                <c:pt idx="92">
                  <c:v>7269.1761846328591</c:v>
                </c:pt>
                <c:pt idx="93">
                  <c:v>7178.32511690503</c:v>
                </c:pt>
                <c:pt idx="94">
                  <c:v>7081.8141108436239</c:v>
                </c:pt>
                <c:pt idx="95">
                  <c:v>6979.46347204152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77</c:v>
                </c:pt>
                <c:pt idx="43">
                  <c:v>4043.1687347470593</c:v>
                </c:pt>
                <c:pt idx="44">
                  <c:v>4200.247000044802</c:v>
                </c:pt>
                <c:pt idx="45">
                  <c:v>4359.4916428298729</c:v>
                </c:pt>
                <c:pt idx="46">
                  <c:v>4516.8426085193487</c:v>
                </c:pt>
                <c:pt idx="47">
                  <c:v>4674.4950136332491</c:v>
                </c:pt>
                <c:pt idx="48">
                  <c:v>4836.9296358195479</c:v>
                </c:pt>
                <c:pt idx="49">
                  <c:v>5005.9629248299825</c:v>
                </c:pt>
                <c:pt idx="50">
                  <c:v>5181.0823628909475</c:v>
                </c:pt>
                <c:pt idx="51">
                  <c:v>5367.2087561997469</c:v>
                </c:pt>
                <c:pt idx="52">
                  <c:v>5557.7622339853688</c:v>
                </c:pt>
                <c:pt idx="53">
                  <c:v>5741.227412579783</c:v>
                </c:pt>
                <c:pt idx="54">
                  <c:v>5924.3916908957699</c:v>
                </c:pt>
                <c:pt idx="55">
                  <c:v>6111.6242528419043</c:v>
                </c:pt>
                <c:pt idx="56">
                  <c:v>6304.0139361848633</c:v>
                </c:pt>
                <c:pt idx="57">
                  <c:v>6501.2446122618294</c:v>
                </c:pt>
                <c:pt idx="58">
                  <c:v>6702.5228306654772</c:v>
                </c:pt>
                <c:pt idx="59">
                  <c:v>6906.5301863113746</c:v>
                </c:pt>
                <c:pt idx="60">
                  <c:v>7109.479172611389</c:v>
                </c:pt>
                <c:pt idx="61">
                  <c:v>7311.3153925703809</c:v>
                </c:pt>
                <c:pt idx="62">
                  <c:v>7512.1806540221514</c:v>
                </c:pt>
                <c:pt idx="63">
                  <c:v>7711.7892970140001</c:v>
                </c:pt>
                <c:pt idx="64">
                  <c:v>7908.8414601342884</c:v>
                </c:pt>
                <c:pt idx="65">
                  <c:v>8103.5161819879349</c:v>
                </c:pt>
                <c:pt idx="66">
                  <c:v>8294.4674585003868</c:v>
                </c:pt>
                <c:pt idx="67">
                  <c:v>8481.1526524327146</c:v>
                </c:pt>
                <c:pt idx="68">
                  <c:v>8661.538570367833</c:v>
                </c:pt>
                <c:pt idx="69">
                  <c:v>8835.5454934832705</c:v>
                </c:pt>
                <c:pt idx="70">
                  <c:v>9002.9890621874656</c:v>
                </c:pt>
                <c:pt idx="71">
                  <c:v>9161.1516483523119</c:v>
                </c:pt>
                <c:pt idx="72">
                  <c:v>9310.7132913458499</c:v>
                </c:pt>
                <c:pt idx="73">
                  <c:v>9451.191907189479</c:v>
                </c:pt>
                <c:pt idx="74">
                  <c:v>9581.0814534073234</c:v>
                </c:pt>
                <c:pt idx="75">
                  <c:v>9700.0694388859665</c:v>
                </c:pt>
                <c:pt idx="76">
                  <c:v>9807.7261848728922</c:v>
                </c:pt>
                <c:pt idx="77">
                  <c:v>9903.950113379924</c:v>
                </c:pt>
                <c:pt idx="78">
                  <c:v>9986.8513187595836</c:v>
                </c:pt>
                <c:pt idx="79">
                  <c:v>10057.236771960848</c:v>
                </c:pt>
                <c:pt idx="80">
                  <c:v>10114.722469341128</c:v>
                </c:pt>
                <c:pt idx="81">
                  <c:v>10158.247083233069</c:v>
                </c:pt>
                <c:pt idx="82">
                  <c:v>10187.686256884104</c:v>
                </c:pt>
                <c:pt idx="83">
                  <c:v>10204.017835551909</c:v>
                </c:pt>
                <c:pt idx="84">
                  <c:v>10206.638131698182</c:v>
                </c:pt>
                <c:pt idx="85">
                  <c:v>10194.579248587939</c:v>
                </c:pt>
                <c:pt idx="86">
                  <c:v>10169.884223290053</c:v>
                </c:pt>
                <c:pt idx="87">
                  <c:v>10132.096963673481</c:v>
                </c:pt>
                <c:pt idx="88">
                  <c:v>10079.137980044037</c:v>
                </c:pt>
                <c:pt idx="89">
                  <c:v>10013.939924979446</c:v>
                </c:pt>
                <c:pt idx="90">
                  <c:v>9936.6889466502053</c:v>
                </c:pt>
                <c:pt idx="91">
                  <c:v>9847.0688784891008</c:v>
                </c:pt>
                <c:pt idx="92">
                  <c:v>9744.119440610757</c:v>
                </c:pt>
                <c:pt idx="93">
                  <c:v>9629.709654960463</c:v>
                </c:pt>
                <c:pt idx="94">
                  <c:v>9504.7837788229663</c:v>
                </c:pt>
                <c:pt idx="95">
                  <c:v>9369.40036948733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8</c:v>
                </c:pt>
                <c:pt idx="4">
                  <c:v>8</c:v>
                </c:pt>
                <c:pt idx="5">
                  <c:v>9</c:v>
                </c:pt>
                <c:pt idx="6">
                  <c:v>9</c:v>
                </c:pt>
                <c:pt idx="7">
                  <c:v>12</c:v>
                </c:pt>
                <c:pt idx="8">
                  <c:v>12</c:v>
                </c:pt>
                <c:pt idx="9">
                  <c:v>11</c:v>
                </c:pt>
                <c:pt idx="10">
                  <c:v>11</c:v>
                </c:pt>
                <c:pt idx="11">
                  <c:v>13</c:v>
                </c:pt>
                <c:pt idx="12">
                  <c:v>11</c:v>
                </c:pt>
                <c:pt idx="13">
                  <c:v>10</c:v>
                </c:pt>
                <c:pt idx="14">
                  <c:v>15</c:v>
                </c:pt>
                <c:pt idx="15">
                  <c:v>17</c:v>
                </c:pt>
                <c:pt idx="16">
                  <c:v>19</c:v>
                </c:pt>
                <c:pt idx="17">
                  <c:v>26</c:v>
                </c:pt>
                <c:pt idx="18">
                  <c:v>30</c:v>
                </c:pt>
                <c:pt idx="19">
                  <c:v>33</c:v>
                </c:pt>
                <c:pt idx="20">
                  <c:v>41</c:v>
                </c:pt>
                <c:pt idx="21">
                  <c:v>46</c:v>
                </c:pt>
                <c:pt idx="22">
                  <c:v>43</c:v>
                </c:pt>
                <c:pt idx="23">
                  <c:v>45</c:v>
                </c:pt>
                <c:pt idx="24">
                  <c:v>75</c:v>
                </c:pt>
                <c:pt idx="25">
                  <c:v>57</c:v>
                </c:pt>
                <c:pt idx="26">
                  <c:v>57</c:v>
                </c:pt>
                <c:pt idx="27">
                  <c:v>59</c:v>
                </c:pt>
                <c:pt idx="28">
                  <c:v>72</c:v>
                </c:pt>
                <c:pt idx="29">
                  <c:v>66</c:v>
                </c:pt>
                <c:pt idx="30">
                  <c:v>70</c:v>
                </c:pt>
                <c:pt idx="31">
                  <c:v>86</c:v>
                </c:pt>
                <c:pt idx="32">
                  <c:v>77</c:v>
                </c:pt>
                <c:pt idx="33">
                  <c:v>88</c:v>
                </c:pt>
                <c:pt idx="34">
                  <c:v>94</c:v>
                </c:pt>
                <c:pt idx="35">
                  <c:v>106</c:v>
                </c:pt>
                <c:pt idx="36">
                  <c:v>104</c:v>
                </c:pt>
                <c:pt idx="37">
                  <c:v>108</c:v>
                </c:pt>
                <c:pt idx="38">
                  <c:v>129</c:v>
                </c:pt>
                <c:pt idx="39">
                  <c:v>145</c:v>
                </c:pt>
                <c:pt idx="40">
                  <c:v>162</c:v>
                </c:pt>
                <c:pt idx="41">
                  <c:v>169</c:v>
                </c:pt>
                <c:pt idx="42">
                  <c:v>183</c:v>
                </c:pt>
                <c:pt idx="43">
                  <c:v>180</c:v>
                </c:pt>
                <c:pt idx="44">
                  <c:v>185</c:v>
                </c:pt>
                <c:pt idx="45">
                  <c:v>211</c:v>
                </c:pt>
                <c:pt idx="46">
                  <c:v>217</c:v>
                </c:pt>
                <c:pt idx="47">
                  <c:v>204</c:v>
                </c:pt>
                <c:pt idx="48">
                  <c:v>220</c:v>
                </c:pt>
                <c:pt idx="49">
                  <c:v>246</c:v>
                </c:pt>
                <c:pt idx="50">
                  <c:v>2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72.02546582983859</c:v>
                </c:pt>
                <c:pt idx="43">
                  <c:v>177.5708891423979</c:v>
                </c:pt>
                <c:pt idx="44">
                  <c:v>183.10208455938442</c:v>
                </c:pt>
                <c:pt idx="45">
                  <c:v>188.4046139291984</c:v>
                </c:pt>
                <c:pt idx="46">
                  <c:v>193.27550533930605</c:v>
                </c:pt>
                <c:pt idx="47">
                  <c:v>197.81431310493528</c:v>
                </c:pt>
                <c:pt idx="48">
                  <c:v>202.21807523506254</c:v>
                </c:pt>
                <c:pt idx="49">
                  <c:v>206.57088660223576</c:v>
                </c:pt>
                <c:pt idx="50">
                  <c:v>210.84559447428001</c:v>
                </c:pt>
                <c:pt idx="51">
                  <c:v>215.27011792869689</c:v>
                </c:pt>
                <c:pt idx="52">
                  <c:v>219.55406993748335</c:v>
                </c:pt>
                <c:pt idx="53">
                  <c:v>223.19054886784471</c:v>
                </c:pt>
                <c:pt idx="54">
                  <c:v>226.48765380865521</c:v>
                </c:pt>
                <c:pt idx="55">
                  <c:v>229.65915051014377</c:v>
                </c:pt>
                <c:pt idx="56">
                  <c:v>232.7761118282408</c:v>
                </c:pt>
                <c:pt idx="57">
                  <c:v>235.87093250495144</c:v>
                </c:pt>
                <c:pt idx="58">
                  <c:v>238.91808370049421</c:v>
                </c:pt>
                <c:pt idx="59">
                  <c:v>241.88134052821798</c:v>
                </c:pt>
                <c:pt idx="60">
                  <c:v>244.61040640141482</c:v>
                </c:pt>
                <c:pt idx="61">
                  <c:v>247.13016392344124</c:v>
                </c:pt>
                <c:pt idx="62">
                  <c:v>249.47279516697228</c:v>
                </c:pt>
                <c:pt idx="63">
                  <c:v>251.65474818536254</c:v>
                </c:pt>
                <c:pt idx="64">
                  <c:v>253.65302010279441</c:v>
                </c:pt>
                <c:pt idx="65">
                  <c:v>255.50775712922984</c:v>
                </c:pt>
                <c:pt idx="66">
                  <c:v>257.18653825143656</c:v>
                </c:pt>
                <c:pt idx="67">
                  <c:v>258.69810553386986</c:v>
                </c:pt>
                <c:pt idx="68">
                  <c:v>259.9803456618173</c:v>
                </c:pt>
                <c:pt idx="69">
                  <c:v>261.0620132688706</c:v>
                </c:pt>
                <c:pt idx="70">
                  <c:v>261.96569391861203</c:v>
                </c:pt>
                <c:pt idx="71">
                  <c:v>262.60231458920623</c:v>
                </c:pt>
                <c:pt idx="72">
                  <c:v>263.0341867462547</c:v>
                </c:pt>
                <c:pt idx="73">
                  <c:v>263.26973195221649</c:v>
                </c:pt>
                <c:pt idx="74">
                  <c:v>263.27143350551398</c:v>
                </c:pt>
                <c:pt idx="75">
                  <c:v>263.05165020519928</c:v>
                </c:pt>
                <c:pt idx="76">
                  <c:v>262.61806687740614</c:v>
                </c:pt>
                <c:pt idx="77">
                  <c:v>261.9875752124064</c:v>
                </c:pt>
                <c:pt idx="78">
                  <c:v>261.09991194160278</c:v>
                </c:pt>
                <c:pt idx="79">
                  <c:v>260.00894392966632</c:v>
                </c:pt>
                <c:pt idx="80">
                  <c:v>258.71649915834752</c:v>
                </c:pt>
                <c:pt idx="81">
                  <c:v>257.19219405908478</c:v>
                </c:pt>
                <c:pt idx="82">
                  <c:v>255.44154129427147</c:v>
                </c:pt>
                <c:pt idx="83">
                  <c:v>253.51824190945302</c:v>
                </c:pt>
                <c:pt idx="84">
                  <c:v>251.40287975269138</c:v>
                </c:pt>
                <c:pt idx="85">
                  <c:v>249.05669831916197</c:v>
                </c:pt>
                <c:pt idx="86">
                  <c:v>246.57249550066132</c:v>
                </c:pt>
                <c:pt idx="87">
                  <c:v>243.93060643469187</c:v>
                </c:pt>
                <c:pt idx="88">
                  <c:v>241.04046518275706</c:v>
                </c:pt>
                <c:pt idx="89">
                  <c:v>238.02306157717283</c:v>
                </c:pt>
                <c:pt idx="90">
                  <c:v>234.88036773307275</c:v>
                </c:pt>
                <c:pt idx="91">
                  <c:v>231.58959088895136</c:v>
                </c:pt>
                <c:pt idx="92">
                  <c:v>228.10585513290013</c:v>
                </c:pt>
                <c:pt idx="93">
                  <c:v>224.49316526100449</c:v>
                </c:pt>
                <c:pt idx="94">
                  <c:v>220.77931630748469</c:v>
                </c:pt>
                <c:pt idx="95">
                  <c:v>216.950541618096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72.41932054935268</c:v>
                </c:pt>
                <c:pt idx="43">
                  <c:v>178.49982489080929</c:v>
                </c:pt>
                <c:pt idx="44">
                  <c:v>184.71769085566154</c:v>
                </c:pt>
                <c:pt idx="45">
                  <c:v>190.86278106703753</c:v>
                </c:pt>
                <c:pt idx="46">
                  <c:v>196.7398698562711</c:v>
                </c:pt>
                <c:pt idx="47">
                  <c:v>202.44826269746724</c:v>
                </c:pt>
                <c:pt idx="48">
                  <c:v>208.18745232227798</c:v>
                </c:pt>
                <c:pt idx="49">
                  <c:v>214.03778117633487</c:v>
                </c:pt>
                <c:pt idx="50">
                  <c:v>219.9715927805205</c:v>
                </c:pt>
                <c:pt idx="51">
                  <c:v>226.21184493250175</c:v>
                </c:pt>
                <c:pt idx="52">
                  <c:v>232.4655308148607</c:v>
                </c:pt>
                <c:pt idx="53">
                  <c:v>238.21965067714268</c:v>
                </c:pt>
                <c:pt idx="54">
                  <c:v>243.77723369657036</c:v>
                </c:pt>
                <c:pt idx="55">
                  <c:v>249.34374522316591</c:v>
                </c:pt>
                <c:pt idx="56">
                  <c:v>254.97817722098915</c:v>
                </c:pt>
                <c:pt idx="57">
                  <c:v>260.69024299352964</c:v>
                </c:pt>
                <c:pt idx="58">
                  <c:v>266.44725952618927</c:v>
                </c:pt>
                <c:pt idx="59">
                  <c:v>272.20208857142921</c:v>
                </c:pt>
                <c:pt idx="60">
                  <c:v>277.79704496225332</c:v>
                </c:pt>
                <c:pt idx="61">
                  <c:v>283.24211741643251</c:v>
                </c:pt>
                <c:pt idx="62">
                  <c:v>288.5584963609495</c:v>
                </c:pt>
                <c:pt idx="63">
                  <c:v>293.74930704086427</c:v>
                </c:pt>
                <c:pt idx="64">
                  <c:v>298.77587818476024</c:v>
                </c:pt>
                <c:pt idx="65">
                  <c:v>303.66439137666822</c:v>
                </c:pt>
                <c:pt idx="66">
                  <c:v>308.37108060317297</c:v>
                </c:pt>
                <c:pt idx="67">
                  <c:v>312.89147926903763</c:v>
                </c:pt>
                <c:pt idx="68">
                  <c:v>317.15167650479225</c:v>
                </c:pt>
                <c:pt idx="69">
                  <c:v>321.16815457527156</c:v>
                </c:pt>
                <c:pt idx="70">
                  <c:v>324.95071936052426</c:v>
                </c:pt>
                <c:pt idx="71">
                  <c:v>328.39812835781709</c:v>
                </c:pt>
                <c:pt idx="72">
                  <c:v>331.56010506689779</c:v>
                </c:pt>
                <c:pt idx="73">
                  <c:v>334.43421702351242</c:v>
                </c:pt>
                <c:pt idx="74">
                  <c:v>336.97247371652225</c:v>
                </c:pt>
                <c:pt idx="75">
                  <c:v>339.17711306456744</c:v>
                </c:pt>
                <c:pt idx="76">
                  <c:v>341.04633030888476</c:v>
                </c:pt>
                <c:pt idx="77">
                  <c:v>342.5889077007119</c:v>
                </c:pt>
                <c:pt idx="78">
                  <c:v>343.7364703758895</c:v>
                </c:pt>
                <c:pt idx="79">
                  <c:v>344.53615083746479</c:v>
                </c:pt>
                <c:pt idx="80">
                  <c:v>344.98365824123903</c:v>
                </c:pt>
                <c:pt idx="81">
                  <c:v>345.04335030116147</c:v>
                </c:pt>
                <c:pt idx="82">
                  <c:v>344.71602665455185</c:v>
                </c:pt>
                <c:pt idx="83">
                  <c:v>344.05212155744493</c:v>
                </c:pt>
                <c:pt idx="84">
                  <c:v>343.02964111127551</c:v>
                </c:pt>
                <c:pt idx="85">
                  <c:v>341.60815282349756</c:v>
                </c:pt>
                <c:pt idx="86">
                  <c:v>339.87966991963498</c:v>
                </c:pt>
                <c:pt idx="87">
                  <c:v>337.82459926870877</c:v>
                </c:pt>
                <c:pt idx="88">
                  <c:v>335.35293799442047</c:v>
                </c:pt>
                <c:pt idx="89">
                  <c:v>332.58759191608272</c:v>
                </c:pt>
                <c:pt idx="90">
                  <c:v>329.53266027152551</c:v>
                </c:pt>
                <c:pt idx="91">
                  <c:v>326.16841826372149</c:v>
                </c:pt>
                <c:pt idx="92">
                  <c:v>322.44920686280807</c:v>
                </c:pt>
                <c:pt idx="93">
                  <c:v>318.44645250374401</c:v>
                </c:pt>
                <c:pt idx="94">
                  <c:v>314.19282063618357</c:v>
                </c:pt>
                <c:pt idx="95">
                  <c:v>309.679955225194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72.81568618899155</c:v>
                </c:pt>
                <c:pt idx="43">
                  <c:v>179.43771895088705</c:v>
                </c:pt>
                <c:pt idx="44">
                  <c:v>186.35515473895492</c:v>
                </c:pt>
                <c:pt idx="45">
                  <c:v>193.36504710640375</c:v>
                </c:pt>
                <c:pt idx="46">
                  <c:v>200.28311679609072</c:v>
                </c:pt>
                <c:pt idx="47">
                  <c:v>207.211812976918</c:v>
                </c:pt>
                <c:pt idx="48">
                  <c:v>214.35663032420646</c:v>
                </c:pt>
                <c:pt idx="49">
                  <c:v>221.79775212800757</c:v>
                </c:pt>
                <c:pt idx="50">
                  <c:v>229.51059775142483</c:v>
                </c:pt>
                <c:pt idx="51">
                  <c:v>237.71663480410268</c:v>
                </c:pt>
                <c:pt idx="52">
                  <c:v>246.12354113538171</c:v>
                </c:pt>
                <c:pt idx="53">
                  <c:v>254.21524454526386</c:v>
                </c:pt>
                <c:pt idx="54">
                  <c:v>262.29240139161743</c:v>
                </c:pt>
                <c:pt idx="55">
                  <c:v>270.55446043513814</c:v>
                </c:pt>
                <c:pt idx="56">
                  <c:v>279.05015380895748</c:v>
                </c:pt>
                <c:pt idx="57">
                  <c:v>287.76771905341411</c:v>
                </c:pt>
                <c:pt idx="58">
                  <c:v>296.66797371986382</c:v>
                </c:pt>
                <c:pt idx="59">
                  <c:v>305.69288325866012</c:v>
                </c:pt>
                <c:pt idx="60">
                  <c:v>314.67670567234507</c:v>
                </c:pt>
                <c:pt idx="61">
                  <c:v>323.61312813376804</c:v>
                </c:pt>
                <c:pt idx="62">
                  <c:v>332.51021753055772</c:v>
                </c:pt>
                <c:pt idx="63">
                  <c:v>341.35492195553007</c:v>
                </c:pt>
                <c:pt idx="64">
                  <c:v>350.08932498247515</c:v>
                </c:pt>
                <c:pt idx="65">
                  <c:v>358.72145326927262</c:v>
                </c:pt>
                <c:pt idx="66">
                  <c:v>367.19143416856588</c:v>
                </c:pt>
                <c:pt idx="67">
                  <c:v>375.47619090448165</c:v>
                </c:pt>
                <c:pt idx="68">
                  <c:v>383.48406549850836</c:v>
                </c:pt>
                <c:pt idx="69">
                  <c:v>391.2128382681592</c:v>
                </c:pt>
                <c:pt idx="70">
                  <c:v>398.65271497593227</c:v>
                </c:pt>
                <c:pt idx="71">
                  <c:v>405.68315988707457</c:v>
                </c:pt>
                <c:pt idx="72">
                  <c:v>412.33400493299416</c:v>
                </c:pt>
                <c:pt idx="73">
                  <c:v>418.58457407717992</c:v>
                </c:pt>
                <c:pt idx="74">
                  <c:v>424.36900278733026</c:v>
                </c:pt>
                <c:pt idx="75">
                  <c:v>429.67209545534416</c:v>
                </c:pt>
                <c:pt idx="76">
                  <c:v>434.47543531843684</c:v>
                </c:pt>
                <c:pt idx="77">
                  <c:v>438.77286504376031</c:v>
                </c:pt>
                <c:pt idx="78">
                  <c:v>442.48145245457192</c:v>
                </c:pt>
                <c:pt idx="79">
                  <c:v>445.63562543176516</c:v>
                </c:pt>
                <c:pt idx="80">
                  <c:v>448.21955300138404</c:v>
                </c:pt>
                <c:pt idx="81">
                  <c:v>450.18753223623236</c:v>
                </c:pt>
                <c:pt idx="82">
                  <c:v>451.53152921447406</c:v>
                </c:pt>
                <c:pt idx="83">
                  <c:v>452.29532643542524</c:v>
                </c:pt>
                <c:pt idx="84">
                  <c:v>452.45174075434409</c:v>
                </c:pt>
                <c:pt idx="85">
                  <c:v>451.95685190059993</c:v>
                </c:pt>
                <c:pt idx="86">
                  <c:v>450.90089012140425</c:v>
                </c:pt>
                <c:pt idx="87">
                  <c:v>449.26414894321863</c:v>
                </c:pt>
                <c:pt idx="88">
                  <c:v>446.95780480351783</c:v>
                </c:pt>
                <c:pt idx="89">
                  <c:v>444.10808000581375</c:v>
                </c:pt>
                <c:pt idx="90">
                  <c:v>440.72335138224855</c:v>
                </c:pt>
                <c:pt idx="91">
                  <c:v>436.78982339547366</c:v>
                </c:pt>
                <c:pt idx="92">
                  <c:v>432.26454762603692</c:v>
                </c:pt>
                <c:pt idx="93">
                  <c:v>427.23047990355388</c:v>
                </c:pt>
                <c:pt idx="94">
                  <c:v>421.72979046140676</c:v>
                </c:pt>
                <c:pt idx="95">
                  <c:v>415.764633889112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7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5</c:v>
                </c:pt>
                <c:pt idx="5">
                  <c:v>4</c:v>
                </c:pt>
                <c:pt idx="6">
                  <c:v>6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7</c:v>
                </c:pt>
                <c:pt idx="11">
                  <c:v>8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2</c:v>
                </c:pt>
                <c:pt idx="16">
                  <c:v>9</c:v>
                </c:pt>
                <c:pt idx="17">
                  <c:v>11</c:v>
                </c:pt>
                <c:pt idx="18">
                  <c:v>13</c:v>
                </c:pt>
                <c:pt idx="19">
                  <c:v>16</c:v>
                </c:pt>
                <c:pt idx="20">
                  <c:v>22</c:v>
                </c:pt>
                <c:pt idx="21">
                  <c:v>31</c:v>
                </c:pt>
                <c:pt idx="22">
                  <c:v>31</c:v>
                </c:pt>
                <c:pt idx="23">
                  <c:v>32</c:v>
                </c:pt>
                <c:pt idx="24">
                  <c:v>39</c:v>
                </c:pt>
                <c:pt idx="25">
                  <c:v>47</c:v>
                </c:pt>
                <c:pt idx="26">
                  <c:v>49</c:v>
                </c:pt>
                <c:pt idx="27">
                  <c:v>59</c:v>
                </c:pt>
                <c:pt idx="28">
                  <c:v>79</c:v>
                </c:pt>
                <c:pt idx="29">
                  <c:v>75</c:v>
                </c:pt>
                <c:pt idx="30">
                  <c:v>75</c:v>
                </c:pt>
                <c:pt idx="31">
                  <c:v>87</c:v>
                </c:pt>
                <c:pt idx="32">
                  <c:v>84</c:v>
                </c:pt>
                <c:pt idx="33">
                  <c:v>98</c:v>
                </c:pt>
                <c:pt idx="34">
                  <c:v>101</c:v>
                </c:pt>
                <c:pt idx="35">
                  <c:v>113</c:v>
                </c:pt>
                <c:pt idx="36">
                  <c:v>112</c:v>
                </c:pt>
                <c:pt idx="37">
                  <c:v>119</c:v>
                </c:pt>
                <c:pt idx="38">
                  <c:v>139</c:v>
                </c:pt>
                <c:pt idx="39">
                  <c:v>142</c:v>
                </c:pt>
                <c:pt idx="40">
                  <c:v>152</c:v>
                </c:pt>
                <c:pt idx="41">
                  <c:v>159</c:v>
                </c:pt>
                <c:pt idx="42">
                  <c:v>166</c:v>
                </c:pt>
                <c:pt idx="43">
                  <c:v>181</c:v>
                </c:pt>
                <c:pt idx="44">
                  <c:v>186</c:v>
                </c:pt>
                <c:pt idx="45">
                  <c:v>201</c:v>
                </c:pt>
                <c:pt idx="46">
                  <c:v>194</c:v>
                </c:pt>
                <c:pt idx="47">
                  <c:v>183</c:v>
                </c:pt>
                <c:pt idx="48">
                  <c:v>193</c:v>
                </c:pt>
                <c:pt idx="49">
                  <c:v>204</c:v>
                </c:pt>
                <c:pt idx="50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50.70227336779411</c:v>
                </c:pt>
                <c:pt idx="43">
                  <c:v>156.24286758975063</c:v>
                </c:pt>
                <c:pt idx="44">
                  <c:v>161.75830631878785</c:v>
                </c:pt>
                <c:pt idx="45">
                  <c:v>167.10016615642837</c:v>
                </c:pt>
                <c:pt idx="46">
                  <c:v>172.14821138287255</c:v>
                </c:pt>
                <c:pt idx="47">
                  <c:v>176.91997546191209</c:v>
                </c:pt>
                <c:pt idx="48">
                  <c:v>181.49217233869743</c:v>
                </c:pt>
                <c:pt idx="49">
                  <c:v>185.94829478582125</c:v>
                </c:pt>
                <c:pt idx="50">
                  <c:v>190.29480191819067</c:v>
                </c:pt>
                <c:pt idx="51">
                  <c:v>194.69031685385261</c:v>
                </c:pt>
                <c:pt idx="52">
                  <c:v>198.88845588316647</c:v>
                </c:pt>
                <c:pt idx="53">
                  <c:v>202.51934630172258</c:v>
                </c:pt>
                <c:pt idx="54">
                  <c:v>205.86418394441415</c:v>
                </c:pt>
                <c:pt idx="55">
                  <c:v>209.03540770645009</c:v>
                </c:pt>
                <c:pt idx="56">
                  <c:v>212.09448522540038</c:v>
                </c:pt>
                <c:pt idx="57">
                  <c:v>215.03716362220857</c:v>
                </c:pt>
                <c:pt idx="58">
                  <c:v>217.9024913846209</c:v>
                </c:pt>
                <c:pt idx="59">
                  <c:v>220.65392768935305</c:v>
                </c:pt>
                <c:pt idx="60">
                  <c:v>223.12698501751584</c:v>
                </c:pt>
                <c:pt idx="61">
                  <c:v>225.40382603684287</c:v>
                </c:pt>
                <c:pt idx="62">
                  <c:v>227.4888587414228</c:v>
                </c:pt>
                <c:pt idx="63">
                  <c:v>229.40152196165468</c:v>
                </c:pt>
                <c:pt idx="64">
                  <c:v>231.13005714284679</c:v>
                </c:pt>
                <c:pt idx="65">
                  <c:v>232.70842319132069</c:v>
                </c:pt>
                <c:pt idx="66">
                  <c:v>234.11131680064932</c:v>
                </c:pt>
                <c:pt idx="67">
                  <c:v>235.3322216145975</c:v>
                </c:pt>
                <c:pt idx="68">
                  <c:v>236.33829927042015</c:v>
                </c:pt>
                <c:pt idx="69">
                  <c:v>237.13598953807815</c:v>
                </c:pt>
                <c:pt idx="70">
                  <c:v>237.76949989782295</c:v>
                </c:pt>
                <c:pt idx="71">
                  <c:v>238.15995888915131</c:v>
                </c:pt>
                <c:pt idx="72">
                  <c:v>238.36722591796456</c:v>
                </c:pt>
                <c:pt idx="73">
                  <c:v>238.38919367093456</c:v>
                </c:pt>
                <c:pt idx="74">
                  <c:v>238.17678044122718</c:v>
                </c:pt>
                <c:pt idx="75">
                  <c:v>237.76001407861537</c:v>
                </c:pt>
                <c:pt idx="76">
                  <c:v>237.1349932538082</c:v>
                </c:pt>
                <c:pt idx="77">
                  <c:v>236.3404532670977</c:v>
                </c:pt>
                <c:pt idx="78">
                  <c:v>235.30838224340118</c:v>
                </c:pt>
                <c:pt idx="79">
                  <c:v>234.10530700733662</c:v>
                </c:pt>
                <c:pt idx="80">
                  <c:v>232.71316849317537</c:v>
                </c:pt>
                <c:pt idx="81">
                  <c:v>231.08255220608777</c:v>
                </c:pt>
                <c:pt idx="82">
                  <c:v>229.25442792467999</c:v>
                </c:pt>
                <c:pt idx="83">
                  <c:v>227.26813217312565</c:v>
                </c:pt>
                <c:pt idx="84">
                  <c:v>225.11033738766383</c:v>
                </c:pt>
                <c:pt idx="85">
                  <c:v>222.75916731309621</c:v>
                </c:pt>
                <c:pt idx="86">
                  <c:v>220.30078273656798</c:v>
                </c:pt>
                <c:pt idx="87">
                  <c:v>217.70763643784477</c:v>
                </c:pt>
                <c:pt idx="88">
                  <c:v>214.84630996947635</c:v>
                </c:pt>
                <c:pt idx="89">
                  <c:v>211.8796941896789</c:v>
                </c:pt>
                <c:pt idx="90">
                  <c:v>208.80604226491772</c:v>
                </c:pt>
                <c:pt idx="91">
                  <c:v>205.5998025695539</c:v>
                </c:pt>
                <c:pt idx="92">
                  <c:v>202.22980203669587</c:v>
                </c:pt>
                <c:pt idx="93">
                  <c:v>198.74706040482505</c:v>
                </c:pt>
                <c:pt idx="94">
                  <c:v>195.17062646967747</c:v>
                </c:pt>
                <c:pt idx="95">
                  <c:v>191.493619972247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51.09660894886611</c:v>
                </c:pt>
                <c:pt idx="43">
                  <c:v>157.17350819123592</c:v>
                </c:pt>
                <c:pt idx="44">
                  <c:v>163.37426879276711</c:v>
                </c:pt>
                <c:pt idx="45">
                  <c:v>169.55189506242942</c:v>
                </c:pt>
                <c:pt idx="46">
                  <c:v>175.59408964353247</c:v>
                </c:pt>
                <c:pt idx="47">
                  <c:v>181.51554085171819</c:v>
                </c:pt>
                <c:pt idx="48">
                  <c:v>187.39386380093339</c:v>
                </c:pt>
                <c:pt idx="49">
                  <c:v>193.30765862554156</c:v>
                </c:pt>
                <c:pt idx="50">
                  <c:v>199.26136851366346</c:v>
                </c:pt>
                <c:pt idx="51">
                  <c:v>205.4072765152344</c:v>
                </c:pt>
                <c:pt idx="52">
                  <c:v>211.494195116051</c:v>
                </c:pt>
                <c:pt idx="53">
                  <c:v>217.14596243764458</c:v>
                </c:pt>
                <c:pt idx="54">
                  <c:v>222.63877002091112</c:v>
                </c:pt>
                <c:pt idx="55">
                  <c:v>228.07438299823841</c:v>
                </c:pt>
                <c:pt idx="56">
                  <c:v>233.50127532146121</c:v>
                </c:pt>
                <c:pt idx="57">
                  <c:v>238.89482773916208</c:v>
                </c:pt>
                <c:pt idx="58">
                  <c:v>244.28686369599185</c:v>
                </c:pt>
                <c:pt idx="59">
                  <c:v>249.63019617824324</c:v>
                </c:pt>
                <c:pt idx="60">
                  <c:v>254.75254963353393</c:v>
                </c:pt>
                <c:pt idx="61">
                  <c:v>259.72224720402608</c:v>
                </c:pt>
                <c:pt idx="62">
                  <c:v>264.53302638016117</c:v>
                </c:pt>
                <c:pt idx="63">
                  <c:v>269.19320936378631</c:v>
                </c:pt>
                <c:pt idx="64">
                  <c:v>273.67499313591571</c:v>
                </c:pt>
                <c:pt idx="65">
                  <c:v>278.00044360046758</c:v>
                </c:pt>
                <c:pt idx="66">
                  <c:v>282.13394617447454</c:v>
                </c:pt>
                <c:pt idx="67">
                  <c:v>286.05722701999656</c:v>
                </c:pt>
                <c:pt idx="68">
                  <c:v>289.72701308043503</c:v>
                </c:pt>
                <c:pt idx="69">
                  <c:v>293.13877418158705</c:v>
                </c:pt>
                <c:pt idx="70">
                  <c:v>296.32556879458934</c:v>
                </c:pt>
                <c:pt idx="71">
                  <c:v>299.19763177441223</c:v>
                </c:pt>
                <c:pt idx="72">
                  <c:v>301.80401103211534</c:v>
                </c:pt>
                <c:pt idx="73">
                  <c:v>304.13254139945025</c:v>
                </c:pt>
                <c:pt idx="74">
                  <c:v>306.12571537411975</c:v>
                </c:pt>
                <c:pt idx="75">
                  <c:v>307.80501911103823</c:v>
                </c:pt>
                <c:pt idx="76">
                  <c:v>309.15863406227209</c:v>
                </c:pt>
                <c:pt idx="77">
                  <c:v>310.21848721506711</c:v>
                </c:pt>
                <c:pt idx="78">
                  <c:v>310.90972616273257</c:v>
                </c:pt>
                <c:pt idx="79">
                  <c:v>311.29362131264901</c:v>
                </c:pt>
                <c:pt idx="80">
                  <c:v>311.34731862847912</c:v>
                </c:pt>
                <c:pt idx="81">
                  <c:v>311.01740992620444</c:v>
                </c:pt>
                <c:pt idx="82">
                  <c:v>310.3411889330763</c:v>
                </c:pt>
                <c:pt idx="83">
                  <c:v>309.35593738018866</c:v>
                </c:pt>
                <c:pt idx="84">
                  <c:v>308.0467748455282</c:v>
                </c:pt>
                <c:pt idx="85">
                  <c:v>306.39108382304249</c:v>
                </c:pt>
                <c:pt idx="86">
                  <c:v>304.47508106575754</c:v>
                </c:pt>
                <c:pt idx="87">
                  <c:v>302.27203390396573</c:v>
                </c:pt>
                <c:pt idx="88">
                  <c:v>299.64957179023747</c:v>
                </c:pt>
                <c:pt idx="89">
                  <c:v>296.77313725763639</c:v>
                </c:pt>
                <c:pt idx="90">
                  <c:v>293.64338045848331</c:v>
                </c:pt>
                <c:pt idx="91">
                  <c:v>290.23807739103381</c:v>
                </c:pt>
                <c:pt idx="92">
                  <c:v>286.52333011748505</c:v>
                </c:pt>
                <c:pt idx="93">
                  <c:v>282.55902478532448</c:v>
                </c:pt>
                <c:pt idx="94">
                  <c:v>278.36897610540848</c:v>
                </c:pt>
                <c:pt idx="95">
                  <c:v>273.95151651891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51.49342582653634</c:v>
                </c:pt>
                <c:pt idx="43">
                  <c:v>158.1130404142105</c:v>
                </c:pt>
                <c:pt idx="44">
                  <c:v>165.01196225809451</c:v>
                </c:pt>
                <c:pt idx="45">
                  <c:v>172.04747118058884</c:v>
                </c:pt>
                <c:pt idx="46">
                  <c:v>179.11834168598597</c:v>
                </c:pt>
                <c:pt idx="47">
                  <c:v>186.23969525057694</c:v>
                </c:pt>
                <c:pt idx="48">
                  <c:v>193.49344046268163</c:v>
                </c:pt>
                <c:pt idx="49">
                  <c:v>200.95668140208005</c:v>
                </c:pt>
                <c:pt idx="50">
                  <c:v>208.63517912870722</c:v>
                </c:pt>
                <c:pt idx="51">
                  <c:v>216.67805458343807</c:v>
                </c:pt>
                <c:pt idx="52">
                  <c:v>224.83227482132833</c:v>
                </c:pt>
                <c:pt idx="53">
                  <c:v>232.71803006897579</c:v>
                </c:pt>
                <c:pt idx="54">
                  <c:v>240.6087879791113</c:v>
                </c:pt>
                <c:pt idx="55">
                  <c:v>248.59746870908111</c:v>
                </c:pt>
                <c:pt idx="56">
                  <c:v>256.72090074710434</c:v>
                </c:pt>
                <c:pt idx="57">
                  <c:v>264.93483385475452</c:v>
                </c:pt>
                <c:pt idx="58">
                  <c:v>273.26405186564546</c:v>
                </c:pt>
                <c:pt idx="59">
                  <c:v>281.65029049603208</c:v>
                </c:pt>
                <c:pt idx="60">
                  <c:v>289.91239615680092</c:v>
                </c:pt>
                <c:pt idx="61">
                  <c:v>298.10306865059653</c:v>
                </c:pt>
                <c:pt idx="62">
                  <c:v>306.20291429190951</c:v>
                </c:pt>
                <c:pt idx="63">
                  <c:v>314.20602417843554</c:v>
                </c:pt>
                <c:pt idx="64">
                  <c:v>322.06477158294376</c:v>
                </c:pt>
                <c:pt idx="65">
                  <c:v>329.7850211595678</c:v>
                </c:pt>
                <c:pt idx="66">
                  <c:v>337.31605337527509</c:v>
                </c:pt>
                <c:pt idx="67">
                  <c:v>344.62250427760443</c:v>
                </c:pt>
                <c:pt idx="68">
                  <c:v>351.64488778214422</c:v>
                </c:pt>
                <c:pt idx="69">
                  <c:v>358.36154741431153</c:v>
                </c:pt>
                <c:pt idx="70">
                  <c:v>364.7879470256463</c:v>
                </c:pt>
                <c:pt idx="71">
                  <c:v>370.81677158748073</c:v>
                </c:pt>
                <c:pt idx="72">
                  <c:v>376.47951631240323</c:v>
                </c:pt>
                <c:pt idx="73">
                  <c:v>381.74721632460535</c:v>
                </c:pt>
                <c:pt idx="74">
                  <c:v>386.54727385579667</c:v>
                </c:pt>
                <c:pt idx="75">
                  <c:v>390.88613171315961</c:v>
                </c:pt>
                <c:pt idx="76">
                  <c:v>394.73780950903915</c:v>
                </c:pt>
                <c:pt idx="77">
                  <c:v>398.12152844441175</c:v>
                </c:pt>
                <c:pt idx="78">
                  <c:v>400.95012395069796</c:v>
                </c:pt>
                <c:pt idx="79">
                  <c:v>403.27464311843545</c:v>
                </c:pt>
                <c:pt idx="80">
                  <c:v>405.06303463341169</c:v>
                </c:pt>
                <c:pt idx="81">
                  <c:v>406.25411569632513</c:v>
                </c:pt>
                <c:pt idx="82">
                  <c:v>406.87839048457204</c:v>
                </c:pt>
                <c:pt idx="83">
                  <c:v>406.96868076647672</c:v>
                </c:pt>
                <c:pt idx="84">
                  <c:v>406.50688020119509</c:v>
                </c:pt>
                <c:pt idx="85">
                  <c:v>405.468702668981</c:v>
                </c:pt>
                <c:pt idx="86">
                  <c:v>403.94024111098622</c:v>
                </c:pt>
                <c:pt idx="87">
                  <c:v>401.89613423523849</c:v>
                </c:pt>
                <c:pt idx="88">
                  <c:v>399.20633033756872</c:v>
                </c:pt>
                <c:pt idx="89">
                  <c:v>396.04078478659017</c:v>
                </c:pt>
                <c:pt idx="90">
                  <c:v>392.4051530024982</c:v>
                </c:pt>
                <c:pt idx="91">
                  <c:v>388.28375086489109</c:v>
                </c:pt>
                <c:pt idx="92">
                  <c:v>383.64367679765769</c:v>
                </c:pt>
                <c:pt idx="93">
                  <c:v>378.55791202751629</c:v>
                </c:pt>
                <c:pt idx="94">
                  <c:v>373.05967511497954</c:v>
                </c:pt>
                <c:pt idx="95">
                  <c:v>367.157502963134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0</c:v>
                </c:pt>
                <c:pt idx="1">
                  <c:v>37</c:v>
                </c:pt>
                <c:pt idx="2">
                  <c:v>42</c:v>
                </c:pt>
                <c:pt idx="3">
                  <c:v>47</c:v>
                </c:pt>
                <c:pt idx="4">
                  <c:v>54</c:v>
                </c:pt>
                <c:pt idx="5">
                  <c:v>62</c:v>
                </c:pt>
                <c:pt idx="6">
                  <c:v>57</c:v>
                </c:pt>
                <c:pt idx="7">
                  <c:v>66</c:v>
                </c:pt>
                <c:pt idx="8">
                  <c:v>62</c:v>
                </c:pt>
                <c:pt idx="9">
                  <c:v>67</c:v>
                </c:pt>
                <c:pt idx="10">
                  <c:v>91</c:v>
                </c:pt>
                <c:pt idx="11">
                  <c:v>96</c:v>
                </c:pt>
                <c:pt idx="12">
                  <c:v>98</c:v>
                </c:pt>
                <c:pt idx="13">
                  <c:v>102</c:v>
                </c:pt>
                <c:pt idx="14">
                  <c:v>112</c:v>
                </c:pt>
                <c:pt idx="15">
                  <c:v>109</c:v>
                </c:pt>
                <c:pt idx="16">
                  <c:v>117</c:v>
                </c:pt>
                <c:pt idx="17">
                  <c:v>140</c:v>
                </c:pt>
                <c:pt idx="18">
                  <c:v>150</c:v>
                </c:pt>
                <c:pt idx="19">
                  <c:v>156</c:v>
                </c:pt>
                <c:pt idx="20">
                  <c:v>159</c:v>
                </c:pt>
                <c:pt idx="21">
                  <c:v>165</c:v>
                </c:pt>
                <c:pt idx="22">
                  <c:v>169</c:v>
                </c:pt>
                <c:pt idx="23">
                  <c:v>183</c:v>
                </c:pt>
                <c:pt idx="24">
                  <c:v>224</c:v>
                </c:pt>
                <c:pt idx="25">
                  <c:v>253</c:v>
                </c:pt>
                <c:pt idx="26">
                  <c:v>286</c:v>
                </c:pt>
                <c:pt idx="27">
                  <c:v>279</c:v>
                </c:pt>
                <c:pt idx="28">
                  <c:v>328</c:v>
                </c:pt>
                <c:pt idx="29">
                  <c:v>303</c:v>
                </c:pt>
                <c:pt idx="30">
                  <c:v>327</c:v>
                </c:pt>
                <c:pt idx="31">
                  <c:v>404</c:v>
                </c:pt>
                <c:pt idx="32">
                  <c:v>430</c:v>
                </c:pt>
                <c:pt idx="33">
                  <c:v>465</c:v>
                </c:pt>
                <c:pt idx="34">
                  <c:v>499</c:v>
                </c:pt>
                <c:pt idx="35">
                  <c:v>503</c:v>
                </c:pt>
                <c:pt idx="36">
                  <c:v>497</c:v>
                </c:pt>
                <c:pt idx="37">
                  <c:v>540</c:v>
                </c:pt>
                <c:pt idx="38">
                  <c:v>606</c:v>
                </c:pt>
                <c:pt idx="39">
                  <c:v>643</c:v>
                </c:pt>
                <c:pt idx="40">
                  <c:v>664</c:v>
                </c:pt>
                <c:pt idx="41">
                  <c:v>692</c:v>
                </c:pt>
                <c:pt idx="42">
                  <c:v>699</c:v>
                </c:pt>
                <c:pt idx="43">
                  <c:v>686</c:v>
                </c:pt>
                <c:pt idx="44">
                  <c:v>710</c:v>
                </c:pt>
                <c:pt idx="45">
                  <c:v>798</c:v>
                </c:pt>
                <c:pt idx="46">
                  <c:v>783</c:v>
                </c:pt>
                <c:pt idx="47">
                  <c:v>764</c:v>
                </c:pt>
                <c:pt idx="48">
                  <c:v>836</c:v>
                </c:pt>
                <c:pt idx="49">
                  <c:v>850</c:v>
                </c:pt>
                <c:pt idx="50">
                  <c:v>8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48.66691668335625</c:v>
                </c:pt>
                <c:pt idx="43">
                  <c:v>669.67640025862306</c:v>
                </c:pt>
                <c:pt idx="44">
                  <c:v>690.63039271687694</c:v>
                </c:pt>
                <c:pt idx="45">
                  <c:v>710.72601981675621</c:v>
                </c:pt>
                <c:pt idx="46">
                  <c:v>729.20627574482637</c:v>
                </c:pt>
                <c:pt idx="47">
                  <c:v>746.43644738479827</c:v>
                </c:pt>
                <c:pt idx="48">
                  <c:v>763.14560560817608</c:v>
                </c:pt>
                <c:pt idx="49">
                  <c:v>779.65227693322072</c:v>
                </c:pt>
                <c:pt idx="50">
                  <c:v>795.8584627347343</c:v>
                </c:pt>
                <c:pt idx="51">
                  <c:v>812.61763701111522</c:v>
                </c:pt>
                <c:pt idx="52">
                  <c:v>828.83598152353215</c:v>
                </c:pt>
                <c:pt idx="53">
                  <c:v>842.61285513323901</c:v>
                </c:pt>
                <c:pt idx="54">
                  <c:v>855.11166324849682</c:v>
                </c:pt>
                <c:pt idx="55">
                  <c:v>867.12760979654013</c:v>
                </c:pt>
                <c:pt idx="56">
                  <c:v>878.92857813002502</c:v>
                </c:pt>
                <c:pt idx="57">
                  <c:v>890.63198710011943</c:v>
                </c:pt>
                <c:pt idx="58">
                  <c:v>902.15048278252198</c:v>
                </c:pt>
                <c:pt idx="59">
                  <c:v>913.3467725558271</c:v>
                </c:pt>
                <c:pt idx="60">
                  <c:v>923.6493625777905</c:v>
                </c:pt>
                <c:pt idx="61">
                  <c:v>933.16083630938851</c:v>
                </c:pt>
                <c:pt idx="62">
                  <c:v>941.9990941450551</c:v>
                </c:pt>
                <c:pt idx="63">
                  <c:v>950.22688740761419</c:v>
                </c:pt>
                <c:pt idx="64">
                  <c:v>957.75869533445029</c:v>
                </c:pt>
                <c:pt idx="65">
                  <c:v>964.74572400261832</c:v>
                </c:pt>
                <c:pt idx="66">
                  <c:v>971.06617109503964</c:v>
                </c:pt>
                <c:pt idx="67">
                  <c:v>976.75094449513267</c:v>
                </c:pt>
                <c:pt idx="68">
                  <c:v>981.56895975571047</c:v>
                </c:pt>
                <c:pt idx="69">
                  <c:v>985.6259235583176</c:v>
                </c:pt>
                <c:pt idx="70">
                  <c:v>989.0105435111393</c:v>
                </c:pt>
                <c:pt idx="71">
                  <c:v>991.38682476972758</c:v>
                </c:pt>
                <c:pt idx="72">
                  <c:v>992.99049374496371</c:v>
                </c:pt>
                <c:pt idx="73">
                  <c:v>993.85193013984349</c:v>
                </c:pt>
                <c:pt idx="74">
                  <c:v>993.82731506570292</c:v>
                </c:pt>
                <c:pt idx="75">
                  <c:v>992.96603610171769</c:v>
                </c:pt>
                <c:pt idx="76">
                  <c:v>991.29552826573877</c:v>
                </c:pt>
                <c:pt idx="77">
                  <c:v>988.88295870416755</c:v>
                </c:pt>
                <c:pt idx="78">
                  <c:v>985.49888127859003</c:v>
                </c:pt>
                <c:pt idx="79">
                  <c:v>981.34922029080735</c:v>
                </c:pt>
                <c:pt idx="80">
                  <c:v>976.43801646230327</c:v>
                </c:pt>
                <c:pt idx="81">
                  <c:v>970.64739342486757</c:v>
                </c:pt>
                <c:pt idx="82">
                  <c:v>964.0033810353807</c:v>
                </c:pt>
                <c:pt idx="83">
                  <c:v>956.70735488399043</c:v>
                </c:pt>
                <c:pt idx="84">
                  <c:v>948.68663543654407</c:v>
                </c:pt>
                <c:pt idx="85">
                  <c:v>939.79683308689687</c:v>
                </c:pt>
                <c:pt idx="86">
                  <c:v>930.38857235365049</c:v>
                </c:pt>
                <c:pt idx="87">
                  <c:v>920.38620462466793</c:v>
                </c:pt>
                <c:pt idx="88">
                  <c:v>909.44038217658795</c:v>
                </c:pt>
                <c:pt idx="89">
                  <c:v>898.01558301709315</c:v>
                </c:pt>
                <c:pt idx="90">
                  <c:v>886.11873947252798</c:v>
                </c:pt>
                <c:pt idx="91">
                  <c:v>873.66309539485428</c:v>
                </c:pt>
                <c:pt idx="92">
                  <c:v>860.48061536783871</c:v>
                </c:pt>
                <c:pt idx="93">
                  <c:v>846.81191336510233</c:v>
                </c:pt>
                <c:pt idx="94">
                  <c:v>832.7610288052656</c:v>
                </c:pt>
                <c:pt idx="95">
                  <c:v>818.276802387982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50.1592007808116</c:v>
                </c:pt>
                <c:pt idx="43">
                  <c:v>673.19614646078321</c:v>
                </c:pt>
                <c:pt idx="44">
                  <c:v>696.75156154386866</c:v>
                </c:pt>
                <c:pt idx="45">
                  <c:v>720.0384495207129</c:v>
                </c:pt>
                <c:pt idx="46">
                  <c:v>742.32918097654931</c:v>
                </c:pt>
                <c:pt idx="47">
                  <c:v>763.98772335143474</c:v>
                </c:pt>
                <c:pt idx="48">
                  <c:v>785.75222245494911</c:v>
                </c:pt>
                <c:pt idx="49">
                  <c:v>807.92682241241346</c:v>
                </c:pt>
                <c:pt idx="50">
                  <c:v>830.41139665761591</c:v>
                </c:pt>
                <c:pt idx="51">
                  <c:v>854.04042215232721</c:v>
                </c:pt>
                <c:pt idx="52">
                  <c:v>877.70983811170652</c:v>
                </c:pt>
                <c:pt idx="53">
                  <c:v>899.49587147927195</c:v>
                </c:pt>
                <c:pt idx="54">
                  <c:v>920.54272858986997</c:v>
                </c:pt>
                <c:pt idx="55">
                  <c:v>941.61382098115882</c:v>
                </c:pt>
                <c:pt idx="56">
                  <c:v>962.93112819064208</c:v>
                </c:pt>
                <c:pt idx="57">
                  <c:v>984.52647077524603</c:v>
                </c:pt>
                <c:pt idx="58">
                  <c:v>1006.2853791994989</c:v>
                </c:pt>
                <c:pt idx="59">
                  <c:v>1028.029251680239</c:v>
                </c:pt>
                <c:pt idx="60">
                  <c:v>1049.1585429938382</c:v>
                </c:pt>
                <c:pt idx="61">
                  <c:v>1069.7195604524488</c:v>
                </c:pt>
                <c:pt idx="62">
                  <c:v>1089.7886065174425</c:v>
                </c:pt>
                <c:pt idx="63">
                  <c:v>1109.3782758665297</c:v>
                </c:pt>
                <c:pt idx="64">
                  <c:v>1128.3436296552584</c:v>
                </c:pt>
                <c:pt idx="65">
                  <c:v>1146.7832661132582</c:v>
                </c:pt>
                <c:pt idx="66">
                  <c:v>1164.5325495958589</c:v>
                </c:pt>
                <c:pt idx="67">
                  <c:v>1181.5725542923133</c:v>
                </c:pt>
                <c:pt idx="68">
                  <c:v>1197.6276955630715</c:v>
                </c:pt>
                <c:pt idx="69">
                  <c:v>1212.7573721815165</c:v>
                </c:pt>
                <c:pt idx="70">
                  <c:v>1227.0021093818223</c:v>
                </c:pt>
                <c:pt idx="71">
                  <c:v>1239.9799903640624</c:v>
                </c:pt>
                <c:pt idx="72">
                  <c:v>1251.8793066849798</c:v>
                </c:pt>
                <c:pt idx="73">
                  <c:v>1262.6894304304506</c:v>
                </c:pt>
                <c:pt idx="74">
                  <c:v>1272.2271572456691</c:v>
                </c:pt>
                <c:pt idx="75">
                  <c:v>1280.5037583881617</c:v>
                </c:pt>
                <c:pt idx="76">
                  <c:v>1287.5109433813548</c:v>
                </c:pt>
                <c:pt idx="77">
                  <c:v>1293.2853435462284</c:v>
                </c:pt>
                <c:pt idx="78">
                  <c:v>1297.5669643872916</c:v>
                </c:pt>
                <c:pt idx="79">
                  <c:v>1300.5364298471338</c:v>
                </c:pt>
                <c:pt idx="80">
                  <c:v>1302.1747900407122</c:v>
                </c:pt>
                <c:pt idx="81">
                  <c:v>1302.3444281891643</c:v>
                </c:pt>
                <c:pt idx="82">
                  <c:v>1301.0536681429951</c:v>
                </c:pt>
                <c:pt idx="83">
                  <c:v>1298.49168429164</c:v>
                </c:pt>
                <c:pt idx="84">
                  <c:v>1294.5761793627519</c:v>
                </c:pt>
                <c:pt idx="85">
                  <c:v>1289.1565494664342</c:v>
                </c:pt>
                <c:pt idx="86">
                  <c:v>1282.5805681736424</c:v>
                </c:pt>
                <c:pt idx="87">
                  <c:v>1274.7729664059493</c:v>
                </c:pt>
                <c:pt idx="88">
                  <c:v>1265.3866000738487</c:v>
                </c:pt>
                <c:pt idx="89">
                  <c:v>1254.8932985872789</c:v>
                </c:pt>
                <c:pt idx="90">
                  <c:v>1243.3080925432448</c:v>
                </c:pt>
                <c:pt idx="91">
                  <c:v>1230.5558871918802</c:v>
                </c:pt>
                <c:pt idx="92">
                  <c:v>1216.4653983924004</c:v>
                </c:pt>
                <c:pt idx="93">
                  <c:v>1201.3055683953535</c:v>
                </c:pt>
                <c:pt idx="94">
                  <c:v>1185.1988742121209</c:v>
                </c:pt>
                <c:pt idx="95">
                  <c:v>1168.11462727646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51.66099381197284</c:v>
                </c:pt>
                <c:pt idx="43">
                  <c:v>676.74982372936893</c:v>
                </c:pt>
                <c:pt idx="44">
                  <c:v>702.95552478680952</c:v>
                </c:pt>
                <c:pt idx="45">
                  <c:v>729.51792211934492</c:v>
                </c:pt>
                <c:pt idx="46">
                  <c:v>755.75087765205399</c:v>
                </c:pt>
                <c:pt idx="47">
                  <c:v>782.02987625726018</c:v>
                </c:pt>
                <c:pt idx="48">
                  <c:v>809.11555571785141</c:v>
                </c:pt>
                <c:pt idx="49">
                  <c:v>837.31126321441775</c:v>
                </c:pt>
                <c:pt idx="50">
                  <c:v>866.52827072630714</c:v>
                </c:pt>
                <c:pt idx="51">
                  <c:v>897.59516672867483</c:v>
                </c:pt>
                <c:pt idx="52">
                  <c:v>929.41011741961597</c:v>
                </c:pt>
                <c:pt idx="53">
                  <c:v>960.03762554036336</c:v>
                </c:pt>
                <c:pt idx="54">
                  <c:v>990.61285649301726</c:v>
                </c:pt>
                <c:pt idx="55">
                  <c:v>1021.8760161876942</c:v>
                </c:pt>
                <c:pt idx="56">
                  <c:v>1054.0100112836183</c:v>
                </c:pt>
                <c:pt idx="57">
                  <c:v>1086.9655638122626</c:v>
                </c:pt>
                <c:pt idx="58">
                  <c:v>1120.6035011885083</c:v>
                </c:pt>
                <c:pt idx="59">
                  <c:v>1154.7039120869351</c:v>
                </c:pt>
                <c:pt idx="60">
                  <c:v>1188.6366068902259</c:v>
                </c:pt>
                <c:pt idx="61">
                  <c:v>1222.386228933073</c:v>
                </c:pt>
                <c:pt idx="62">
                  <c:v>1255.9793578502415</c:v>
                </c:pt>
                <c:pt idx="63">
                  <c:v>1289.3675795609456</c:v>
                </c:pt>
                <c:pt idx="64">
                  <c:v>1322.3329563426482</c:v>
                </c:pt>
                <c:pt idx="65">
                  <c:v>1354.905585495942</c:v>
                </c:pt>
                <c:pt idx="66">
                  <c:v>1386.8599527936319</c:v>
                </c:pt>
                <c:pt idx="67">
                  <c:v>1418.1068437494325</c:v>
                </c:pt>
                <c:pt idx="68">
                  <c:v>1448.3036570379625</c:v>
                </c:pt>
                <c:pt idx="69">
                  <c:v>1477.4391631398339</c:v>
                </c:pt>
                <c:pt idx="70">
                  <c:v>1505.4799184190917</c:v>
                </c:pt>
                <c:pt idx="71">
                  <c:v>1531.9711618858341</c:v>
                </c:pt>
                <c:pt idx="72">
                  <c:v>1557.0261603570775</c:v>
                </c:pt>
                <c:pt idx="73">
                  <c:v>1580.5653751735083</c:v>
                </c:pt>
                <c:pt idx="74">
                  <c:v>1602.3382857483821</c:v>
                </c:pt>
                <c:pt idx="75">
                  <c:v>1622.2904589310292</c:v>
                </c:pt>
                <c:pt idx="76">
                  <c:v>1640.3510210773088</c:v>
                </c:pt>
                <c:pt idx="77">
                  <c:v>1656.5003253215955</c:v>
                </c:pt>
                <c:pt idx="78">
                  <c:v>1670.4235489572684</c:v>
                </c:pt>
                <c:pt idx="79">
                  <c:v>1682.25354134297</c:v>
                </c:pt>
                <c:pt idx="80">
                  <c:v>1691.9279698866446</c:v>
                </c:pt>
                <c:pt idx="81">
                  <c:v>1699.2714322608376</c:v>
                </c:pt>
                <c:pt idx="82">
                  <c:v>1704.259080756286</c:v>
                </c:pt>
                <c:pt idx="83">
                  <c:v>1707.0552059307674</c:v>
                </c:pt>
                <c:pt idx="84">
                  <c:v>1707.5581346131009</c:v>
                </c:pt>
                <c:pt idx="85">
                  <c:v>1705.6043125261488</c:v>
                </c:pt>
                <c:pt idx="86">
                  <c:v>1701.5349986908986</c:v>
                </c:pt>
                <c:pt idx="87">
                  <c:v>1695.2747099927828</c:v>
                </c:pt>
                <c:pt idx="88">
                  <c:v>1686.4809357717372</c:v>
                </c:pt>
                <c:pt idx="89">
                  <c:v>1675.6382442999775</c:v>
                </c:pt>
                <c:pt idx="90">
                  <c:v>1662.777978444559</c:v>
                </c:pt>
                <c:pt idx="91">
                  <c:v>1647.8475964805539</c:v>
                </c:pt>
                <c:pt idx="92">
                  <c:v>1630.6858353859895</c:v>
                </c:pt>
                <c:pt idx="93">
                  <c:v>1611.6055464607575</c:v>
                </c:pt>
                <c:pt idx="94">
                  <c:v>1590.7652032571075</c:v>
                </c:pt>
                <c:pt idx="95">
                  <c:v>1568.17389484905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1</c:v>
                </c:pt>
                <c:pt idx="1">
                  <c:v>11</c:v>
                </c:pt>
                <c:pt idx="2">
                  <c:v>14</c:v>
                </c:pt>
                <c:pt idx="3">
                  <c:v>16</c:v>
                </c:pt>
                <c:pt idx="4">
                  <c:v>10</c:v>
                </c:pt>
                <c:pt idx="5">
                  <c:v>13</c:v>
                </c:pt>
                <c:pt idx="6">
                  <c:v>19</c:v>
                </c:pt>
                <c:pt idx="7">
                  <c:v>23</c:v>
                </c:pt>
                <c:pt idx="8">
                  <c:v>23</c:v>
                </c:pt>
                <c:pt idx="9">
                  <c:v>24</c:v>
                </c:pt>
                <c:pt idx="10">
                  <c:v>29</c:v>
                </c:pt>
                <c:pt idx="11">
                  <c:v>30</c:v>
                </c:pt>
                <c:pt idx="12">
                  <c:v>33</c:v>
                </c:pt>
                <c:pt idx="13">
                  <c:v>36</c:v>
                </c:pt>
                <c:pt idx="14">
                  <c:v>40</c:v>
                </c:pt>
                <c:pt idx="15">
                  <c:v>37</c:v>
                </c:pt>
                <c:pt idx="16">
                  <c:v>37</c:v>
                </c:pt>
                <c:pt idx="17">
                  <c:v>47</c:v>
                </c:pt>
                <c:pt idx="18">
                  <c:v>47</c:v>
                </c:pt>
                <c:pt idx="19">
                  <c:v>52</c:v>
                </c:pt>
                <c:pt idx="20">
                  <c:v>51</c:v>
                </c:pt>
                <c:pt idx="21">
                  <c:v>63</c:v>
                </c:pt>
                <c:pt idx="22">
                  <c:v>59</c:v>
                </c:pt>
                <c:pt idx="23">
                  <c:v>57</c:v>
                </c:pt>
                <c:pt idx="24">
                  <c:v>65</c:v>
                </c:pt>
                <c:pt idx="25">
                  <c:v>82</c:v>
                </c:pt>
                <c:pt idx="26">
                  <c:v>89</c:v>
                </c:pt>
                <c:pt idx="27">
                  <c:v>80</c:v>
                </c:pt>
                <c:pt idx="28">
                  <c:v>98</c:v>
                </c:pt>
                <c:pt idx="29">
                  <c:v>100</c:v>
                </c:pt>
                <c:pt idx="30">
                  <c:v>109</c:v>
                </c:pt>
                <c:pt idx="31">
                  <c:v>139</c:v>
                </c:pt>
                <c:pt idx="32">
                  <c:v>142</c:v>
                </c:pt>
                <c:pt idx="33">
                  <c:v>154</c:v>
                </c:pt>
                <c:pt idx="34">
                  <c:v>173</c:v>
                </c:pt>
                <c:pt idx="35">
                  <c:v>192</c:v>
                </c:pt>
                <c:pt idx="36">
                  <c:v>194</c:v>
                </c:pt>
                <c:pt idx="37">
                  <c:v>212</c:v>
                </c:pt>
                <c:pt idx="38">
                  <c:v>255</c:v>
                </c:pt>
                <c:pt idx="39">
                  <c:v>292</c:v>
                </c:pt>
                <c:pt idx="40">
                  <c:v>313</c:v>
                </c:pt>
                <c:pt idx="41">
                  <c:v>337</c:v>
                </c:pt>
                <c:pt idx="42">
                  <c:v>371</c:v>
                </c:pt>
                <c:pt idx="43">
                  <c:v>358</c:v>
                </c:pt>
                <c:pt idx="44">
                  <c:v>373</c:v>
                </c:pt>
                <c:pt idx="45">
                  <c:v>407</c:v>
                </c:pt>
                <c:pt idx="46">
                  <c:v>411</c:v>
                </c:pt>
                <c:pt idx="47">
                  <c:v>401</c:v>
                </c:pt>
                <c:pt idx="48">
                  <c:v>417</c:v>
                </c:pt>
                <c:pt idx="49">
                  <c:v>409</c:v>
                </c:pt>
                <c:pt idx="50">
                  <c:v>4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38.49776411451023</c:v>
                </c:pt>
                <c:pt idx="43">
                  <c:v>349.30598170357257</c:v>
                </c:pt>
                <c:pt idx="44">
                  <c:v>360.08812943262149</c:v>
                </c:pt>
                <c:pt idx="45">
                  <c:v>370.41626679972603</c:v>
                </c:pt>
                <c:pt idx="46">
                  <c:v>379.88226140812748</c:v>
                </c:pt>
                <c:pt idx="47">
                  <c:v>388.69258633611958</c:v>
                </c:pt>
                <c:pt idx="48">
                  <c:v>397.2495155671748</c:v>
                </c:pt>
                <c:pt idx="49">
                  <c:v>405.7170331390671</c:v>
                </c:pt>
                <c:pt idx="50">
                  <c:v>414.03711846367099</c:v>
                </c:pt>
                <c:pt idx="51">
                  <c:v>422.66448315826426</c:v>
                </c:pt>
                <c:pt idx="52">
                  <c:v>431.02651136865541</c:v>
                </c:pt>
                <c:pt idx="53">
                  <c:v>438.11449944177957</c:v>
                </c:pt>
                <c:pt idx="54">
                  <c:v>444.53298635056149</c:v>
                </c:pt>
                <c:pt idx="55">
                  <c:v>450.71396285131254</c:v>
                </c:pt>
                <c:pt idx="56">
                  <c:v>456.79740110782427</c:v>
                </c:pt>
                <c:pt idx="57">
                  <c:v>462.85199872780692</c:v>
                </c:pt>
                <c:pt idx="58">
                  <c:v>468.81819908785428</c:v>
                </c:pt>
                <c:pt idx="59">
                  <c:v>474.6254514096679</c:v>
                </c:pt>
                <c:pt idx="60">
                  <c:v>479.98299674429535</c:v>
                </c:pt>
                <c:pt idx="61">
                  <c:v>484.9306332026058</c:v>
                </c:pt>
                <c:pt idx="62">
                  <c:v>489.5352968361866</c:v>
                </c:pt>
                <c:pt idx="63">
                  <c:v>493.82858925572174</c:v>
                </c:pt>
                <c:pt idx="64">
                  <c:v>497.76397312891675</c:v>
                </c:pt>
                <c:pt idx="65">
                  <c:v>501.42062875850161</c:v>
                </c:pt>
                <c:pt idx="66">
                  <c:v>504.73429024651421</c:v>
                </c:pt>
                <c:pt idx="67">
                  <c:v>507.72431138370547</c:v>
                </c:pt>
                <c:pt idx="68">
                  <c:v>510.26519522608828</c:v>
                </c:pt>
                <c:pt idx="69">
                  <c:v>512.41636932513723</c:v>
                </c:pt>
                <c:pt idx="70">
                  <c:v>514.21856831858611</c:v>
                </c:pt>
                <c:pt idx="71">
                  <c:v>515.49664895982164</c:v>
                </c:pt>
                <c:pt idx="72">
                  <c:v>516.37242241021397</c:v>
                </c:pt>
                <c:pt idx="73">
                  <c:v>516.86389984568541</c:v>
                </c:pt>
                <c:pt idx="74">
                  <c:v>516.89972057874581</c:v>
                </c:pt>
                <c:pt idx="75">
                  <c:v>516.50128837017985</c:v>
                </c:pt>
                <c:pt idx="76">
                  <c:v>515.68533907396375</c:v>
                </c:pt>
                <c:pt idx="77">
                  <c:v>514.48147687383209</c:v>
                </c:pt>
                <c:pt idx="78">
                  <c:v>512.77343089685951</c:v>
                </c:pt>
                <c:pt idx="79">
                  <c:v>510.66426046582194</c:v>
                </c:pt>
                <c:pt idx="80">
                  <c:v>508.16054717215081</c:v>
                </c:pt>
                <c:pt idx="81">
                  <c:v>505.20596549763087</c:v>
                </c:pt>
                <c:pt idx="82">
                  <c:v>501.80587636594692</c:v>
                </c:pt>
                <c:pt idx="83">
                  <c:v>498.06711849697115</c:v>
                </c:pt>
                <c:pt idx="84">
                  <c:v>493.95092741758901</c:v>
                </c:pt>
                <c:pt idx="85">
                  <c:v>489.3792079371313</c:v>
                </c:pt>
                <c:pt idx="86">
                  <c:v>484.5338215903505</c:v>
                </c:pt>
                <c:pt idx="87">
                  <c:v>479.37764010848167</c:v>
                </c:pt>
                <c:pt idx="88">
                  <c:v>473.74066478801251</c:v>
                </c:pt>
                <c:pt idx="89">
                  <c:v>467.85233195225936</c:v>
                </c:pt>
                <c:pt idx="90">
                  <c:v>461.71704962986536</c:v>
                </c:pt>
                <c:pt idx="91">
                  <c:v>455.29081579164853</c:v>
                </c:pt>
                <c:pt idx="92">
                  <c:v>448.48409148349037</c:v>
                </c:pt>
                <c:pt idx="93">
                  <c:v>441.42358700624789</c:v>
                </c:pt>
                <c:pt idx="94">
                  <c:v>434.16479990581576</c:v>
                </c:pt>
                <c:pt idx="95">
                  <c:v>426.679854909923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39.26527521708658</c:v>
                </c:pt>
                <c:pt idx="43">
                  <c:v>351.11612727827514</c:v>
                </c:pt>
                <c:pt idx="44">
                  <c:v>363.23673309311494</c:v>
                </c:pt>
                <c:pt idx="45">
                  <c:v>375.20797010428424</c:v>
                </c:pt>
                <c:pt idx="46">
                  <c:v>386.63677341681364</c:v>
                </c:pt>
                <c:pt idx="47">
                  <c:v>397.72952528516885</c:v>
                </c:pt>
                <c:pt idx="48">
                  <c:v>408.89351954944681</c:v>
                </c:pt>
                <c:pt idx="49">
                  <c:v>420.28560023097378</c:v>
                </c:pt>
                <c:pt idx="50">
                  <c:v>431.84699455105601</c:v>
                </c:pt>
                <c:pt idx="51">
                  <c:v>444.02295439326451</c:v>
                </c:pt>
                <c:pt idx="52">
                  <c:v>456.23608974494789</c:v>
                </c:pt>
                <c:pt idx="53">
                  <c:v>467.46584132574196</c:v>
                </c:pt>
                <c:pt idx="54">
                  <c:v>478.30685738817272</c:v>
                </c:pt>
                <c:pt idx="55">
                  <c:v>489.17531232317333</c:v>
                </c:pt>
                <c:pt idx="56">
                  <c:v>500.18777239518931</c:v>
                </c:pt>
                <c:pt idx="57">
                  <c:v>511.36837987150091</c:v>
                </c:pt>
                <c:pt idx="58">
                  <c:v>522.6436461042465</c:v>
                </c:pt>
                <c:pt idx="59">
                  <c:v>533.92171068948244</c:v>
                </c:pt>
                <c:pt idx="60">
                  <c:v>544.89747570277996</c:v>
                </c:pt>
                <c:pt idx="61">
                  <c:v>555.58155247578327</c:v>
                </c:pt>
                <c:pt idx="62">
                  <c:v>566.01940667167469</c:v>
                </c:pt>
                <c:pt idx="63">
                  <c:v>576.21634014027461</c:v>
                </c:pt>
                <c:pt idx="64">
                  <c:v>586.09533647834064</c:v>
                </c:pt>
                <c:pt idx="65">
                  <c:v>595.70804581516506</c:v>
                </c:pt>
                <c:pt idx="66">
                  <c:v>604.96793503486731</c:v>
                </c:pt>
                <c:pt idx="67">
                  <c:v>613.86839524787047</c:v>
                </c:pt>
                <c:pt idx="68">
                  <c:v>622.26073034189233</c:v>
                </c:pt>
                <c:pt idx="69">
                  <c:v>630.18025250912115</c:v>
                </c:pt>
                <c:pt idx="70">
                  <c:v>637.64254249010196</c:v>
                </c:pt>
                <c:pt idx="71">
                  <c:v>644.44854623965693</c:v>
                </c:pt>
                <c:pt idx="72">
                  <c:v>650.69527252761395</c:v>
                </c:pt>
                <c:pt idx="73">
                  <c:v>656.37945823350299</c:v>
                </c:pt>
                <c:pt idx="74">
                  <c:v>661.40901933820771</c:v>
                </c:pt>
                <c:pt idx="75">
                  <c:v>665.78539526751922</c:v>
                </c:pt>
                <c:pt idx="76">
                  <c:v>669.50658890850445</c:v>
                </c:pt>
                <c:pt idx="77">
                  <c:v>672.58620242324139</c:v>
                </c:pt>
                <c:pt idx="78">
                  <c:v>674.8919632779772</c:v>
                </c:pt>
                <c:pt idx="79">
                  <c:v>676.51358182178456</c:v>
                </c:pt>
                <c:pt idx="80">
                  <c:v>677.44551368298539</c:v>
                </c:pt>
                <c:pt idx="81">
                  <c:v>677.62099257750856</c:v>
                </c:pt>
                <c:pt idx="82">
                  <c:v>677.03603678477793</c:v>
                </c:pt>
                <c:pt idx="83">
                  <c:v>675.79093438119878</c:v>
                </c:pt>
                <c:pt idx="84">
                  <c:v>673.84174153168874</c:v>
                </c:pt>
                <c:pt idx="85">
                  <c:v>671.10695480882487</c:v>
                </c:pt>
                <c:pt idx="86">
                  <c:v>667.76677889437508</c:v>
                </c:pt>
                <c:pt idx="87">
                  <c:v>663.78411255056017</c:v>
                </c:pt>
                <c:pt idx="88">
                  <c:v>658.98998082390426</c:v>
                </c:pt>
                <c:pt idx="89">
                  <c:v>653.61745760468739</c:v>
                </c:pt>
                <c:pt idx="90">
                  <c:v>647.67505550674218</c:v>
                </c:pt>
                <c:pt idx="91">
                  <c:v>641.12471224317142</c:v>
                </c:pt>
                <c:pt idx="92">
                  <c:v>633.87565741577976</c:v>
                </c:pt>
                <c:pt idx="93">
                  <c:v>626.06884604020604</c:v>
                </c:pt>
                <c:pt idx="94">
                  <c:v>617.76928348698334</c:v>
                </c:pt>
                <c:pt idx="95">
                  <c:v>608.959669294520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40.03768435308803</c:v>
                </c:pt>
                <c:pt idx="43">
                  <c:v>352.94374184529158</c:v>
                </c:pt>
                <c:pt idx="44">
                  <c:v>366.42795425877461</c:v>
                </c:pt>
                <c:pt idx="45">
                  <c:v>380.08565603829925</c:v>
                </c:pt>
                <c:pt idx="46">
                  <c:v>393.54509672370045</c:v>
                </c:pt>
                <c:pt idx="47">
                  <c:v>407.01919680509013</c:v>
                </c:pt>
                <c:pt idx="48">
                  <c:v>420.92720668150844</c:v>
                </c:pt>
                <c:pt idx="49">
                  <c:v>435.42586314915116</c:v>
                </c:pt>
                <c:pt idx="50">
                  <c:v>450.46265481912843</c:v>
                </c:pt>
                <c:pt idx="51">
                  <c:v>466.48018315798959</c:v>
                </c:pt>
                <c:pt idx="52">
                  <c:v>482.90277659307037</c:v>
                </c:pt>
                <c:pt idx="53">
                  <c:v>498.70397529995626</c:v>
                </c:pt>
                <c:pt idx="54">
                  <c:v>514.47385643512541</c:v>
                </c:pt>
                <c:pt idx="55">
                  <c:v>530.61729802351056</c:v>
                </c:pt>
                <c:pt idx="56">
                  <c:v>547.23108128007334</c:v>
                </c:pt>
                <c:pt idx="57">
                  <c:v>564.29721426864251</c:v>
                </c:pt>
                <c:pt idx="58">
                  <c:v>581.72962358758537</c:v>
                </c:pt>
                <c:pt idx="59">
                  <c:v>599.41524048468455</c:v>
                </c:pt>
                <c:pt idx="60">
                  <c:v>617.03338973214215</c:v>
                </c:pt>
                <c:pt idx="61">
                  <c:v>634.56280959650815</c:v>
                </c:pt>
                <c:pt idx="62">
                  <c:v>652.02339041313462</c:v>
                </c:pt>
                <c:pt idx="63">
                  <c:v>669.38861092577793</c:v>
                </c:pt>
                <c:pt idx="64">
                  <c:v>686.54403564748134</c:v>
                </c:pt>
                <c:pt idx="65">
                  <c:v>703.50563595665551</c:v>
                </c:pt>
                <c:pt idx="66">
                  <c:v>720.15533642767491</c:v>
                </c:pt>
                <c:pt idx="67">
                  <c:v>736.45002799985889</c:v>
                </c:pt>
                <c:pt idx="68">
                  <c:v>752.20619430383181</c:v>
                </c:pt>
                <c:pt idx="69">
                  <c:v>767.42246007876179</c:v>
                </c:pt>
                <c:pt idx="70">
                  <c:v>782.07590291146084</c:v>
                </c:pt>
                <c:pt idx="71">
                  <c:v>795.92960348941915</c:v>
                </c:pt>
                <c:pt idx="72">
                  <c:v>809.04144881092486</c:v>
                </c:pt>
                <c:pt idx="73">
                  <c:v>821.37240163613865</c:v>
                </c:pt>
                <c:pt idx="74">
                  <c:v>832.79512063773177</c:v>
                </c:pt>
                <c:pt idx="75">
                  <c:v>843.27670616201931</c:v>
                </c:pt>
                <c:pt idx="76">
                  <c:v>852.78241397724094</c:v>
                </c:pt>
                <c:pt idx="77">
                  <c:v>861.29639135497382</c:v>
                </c:pt>
                <c:pt idx="78">
                  <c:v>868.65765415704595</c:v>
                </c:pt>
                <c:pt idx="79">
                  <c:v>874.9307759890728</c:v>
                </c:pt>
                <c:pt idx="80">
                  <c:v>880.08736623553193</c:v>
                </c:pt>
                <c:pt idx="81">
                  <c:v>884.04070437296878</c:v>
                </c:pt>
                <c:pt idx="82">
                  <c:v>886.76928264382218</c:v>
                </c:pt>
                <c:pt idx="83">
                  <c:v>888.3600927707655</c:v>
                </c:pt>
                <c:pt idx="84">
                  <c:v>888.75877953746283</c:v>
                </c:pt>
                <c:pt idx="85">
                  <c:v>887.87676601441035</c:v>
                </c:pt>
                <c:pt idx="86">
                  <c:v>885.89053015748289</c:v>
                </c:pt>
                <c:pt idx="87">
                  <c:v>882.76252444134741</c:v>
                </c:pt>
                <c:pt idx="88">
                  <c:v>878.32589928810489</c:v>
                </c:pt>
                <c:pt idx="89">
                  <c:v>872.82001047244603</c:v>
                </c:pt>
                <c:pt idx="90">
                  <c:v>866.26159675122608</c:v>
                </c:pt>
                <c:pt idx="91">
                  <c:v>858.62405868342762</c:v>
                </c:pt>
                <c:pt idx="92">
                  <c:v>849.82216882244074</c:v>
                </c:pt>
                <c:pt idx="93">
                  <c:v>840.01911415468226</c:v>
                </c:pt>
                <c:pt idx="94">
                  <c:v>829.29843926182127</c:v>
                </c:pt>
                <c:pt idx="95">
                  <c:v>817.663374333566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2</c:v>
                </c:pt>
                <c:pt idx="1">
                  <c:v>12</c:v>
                </c:pt>
                <c:pt idx="2">
                  <c:v>13</c:v>
                </c:pt>
                <c:pt idx="3">
                  <c:v>14</c:v>
                </c:pt>
                <c:pt idx="4">
                  <c:v>13</c:v>
                </c:pt>
                <c:pt idx="5">
                  <c:v>15</c:v>
                </c:pt>
                <c:pt idx="6">
                  <c:v>18</c:v>
                </c:pt>
                <c:pt idx="7">
                  <c:v>20</c:v>
                </c:pt>
                <c:pt idx="8">
                  <c:v>18</c:v>
                </c:pt>
                <c:pt idx="9">
                  <c:v>19</c:v>
                </c:pt>
                <c:pt idx="10">
                  <c:v>24</c:v>
                </c:pt>
                <c:pt idx="11">
                  <c:v>28</c:v>
                </c:pt>
                <c:pt idx="12">
                  <c:v>27</c:v>
                </c:pt>
                <c:pt idx="13">
                  <c:v>30</c:v>
                </c:pt>
                <c:pt idx="14">
                  <c:v>34</c:v>
                </c:pt>
                <c:pt idx="15">
                  <c:v>40</c:v>
                </c:pt>
                <c:pt idx="16">
                  <c:v>44</c:v>
                </c:pt>
                <c:pt idx="17">
                  <c:v>56</c:v>
                </c:pt>
                <c:pt idx="18">
                  <c:v>54</c:v>
                </c:pt>
                <c:pt idx="19">
                  <c:v>69</c:v>
                </c:pt>
                <c:pt idx="20">
                  <c:v>72</c:v>
                </c:pt>
                <c:pt idx="21">
                  <c:v>79</c:v>
                </c:pt>
                <c:pt idx="22">
                  <c:v>82</c:v>
                </c:pt>
                <c:pt idx="23">
                  <c:v>87</c:v>
                </c:pt>
                <c:pt idx="24">
                  <c:v>96</c:v>
                </c:pt>
                <c:pt idx="25">
                  <c:v>106</c:v>
                </c:pt>
                <c:pt idx="26">
                  <c:v>127</c:v>
                </c:pt>
                <c:pt idx="27">
                  <c:v>126</c:v>
                </c:pt>
                <c:pt idx="28">
                  <c:v>135</c:v>
                </c:pt>
                <c:pt idx="29">
                  <c:v>156</c:v>
                </c:pt>
                <c:pt idx="30">
                  <c:v>161</c:v>
                </c:pt>
                <c:pt idx="31">
                  <c:v>191</c:v>
                </c:pt>
                <c:pt idx="32">
                  <c:v>205</c:v>
                </c:pt>
                <c:pt idx="33">
                  <c:v>203</c:v>
                </c:pt>
                <c:pt idx="34">
                  <c:v>223</c:v>
                </c:pt>
                <c:pt idx="35">
                  <c:v>227</c:v>
                </c:pt>
                <c:pt idx="36">
                  <c:v>245</c:v>
                </c:pt>
                <c:pt idx="37">
                  <c:v>262</c:v>
                </c:pt>
                <c:pt idx="38">
                  <c:v>294</c:v>
                </c:pt>
                <c:pt idx="39">
                  <c:v>309</c:v>
                </c:pt>
                <c:pt idx="40">
                  <c:v>323</c:v>
                </c:pt>
                <c:pt idx="41">
                  <c:v>326</c:v>
                </c:pt>
                <c:pt idx="42">
                  <c:v>331</c:v>
                </c:pt>
                <c:pt idx="43">
                  <c:v>321</c:v>
                </c:pt>
                <c:pt idx="44">
                  <c:v>347</c:v>
                </c:pt>
                <c:pt idx="45">
                  <c:v>409</c:v>
                </c:pt>
                <c:pt idx="46">
                  <c:v>406</c:v>
                </c:pt>
                <c:pt idx="47">
                  <c:v>416</c:v>
                </c:pt>
                <c:pt idx="48">
                  <c:v>424</c:v>
                </c:pt>
                <c:pt idx="49">
                  <c:v>451</c:v>
                </c:pt>
                <c:pt idx="50">
                  <c:v>4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40.87099637143069</c:v>
                </c:pt>
                <c:pt idx="43">
                  <c:v>351.79372970866558</c:v>
                </c:pt>
                <c:pt idx="44">
                  <c:v>362.68949010775896</c:v>
                </c:pt>
                <c:pt idx="45">
                  <c:v>373.12957487750003</c:v>
                </c:pt>
                <c:pt idx="46">
                  <c:v>382.70625801460568</c:v>
                </c:pt>
                <c:pt idx="47">
                  <c:v>391.62350540207115</c:v>
                </c:pt>
                <c:pt idx="48">
                  <c:v>400.28096847670582</c:v>
                </c:pt>
                <c:pt idx="49">
                  <c:v>408.84433842371686</c:v>
                </c:pt>
                <c:pt idx="50">
                  <c:v>417.25690451707055</c:v>
                </c:pt>
                <c:pt idx="51">
                  <c:v>425.97423686942415</c:v>
                </c:pt>
                <c:pt idx="52">
                  <c:v>434.42015952067607</c:v>
                </c:pt>
                <c:pt idx="53">
                  <c:v>441.58310781895864</c:v>
                </c:pt>
                <c:pt idx="54">
                  <c:v>448.07249979430014</c:v>
                </c:pt>
                <c:pt idx="55">
                  <c:v>454.31910788805703</c:v>
                </c:pt>
                <c:pt idx="56">
                  <c:v>460.46384047105107</c:v>
                </c:pt>
                <c:pt idx="57">
                  <c:v>466.57402472623187</c:v>
                </c:pt>
                <c:pt idx="58">
                  <c:v>472.59317202127818</c:v>
                </c:pt>
                <c:pt idx="59">
                  <c:v>478.44996416414915</c:v>
                </c:pt>
                <c:pt idx="60">
                  <c:v>483.84974090242429</c:v>
                </c:pt>
                <c:pt idx="61">
                  <c:v>488.83600540825063</c:v>
                </c:pt>
                <c:pt idx="62">
                  <c:v>493.47481308787701</c:v>
                </c:pt>
                <c:pt idx="63">
                  <c:v>497.79827257120951</c:v>
                </c:pt>
                <c:pt idx="64">
                  <c:v>501.75999660338471</c:v>
                </c:pt>
                <c:pt idx="65">
                  <c:v>505.4396518927</c:v>
                </c:pt>
                <c:pt idx="66">
                  <c:v>508.77269785503995</c:v>
                </c:pt>
                <c:pt idx="67">
                  <c:v>511.77781946778066</c:v>
                </c:pt>
                <c:pt idx="68">
                  <c:v>514.32986447163978</c:v>
                </c:pt>
                <c:pt idx="69">
                  <c:v>516.48761286043191</c:v>
                </c:pt>
                <c:pt idx="70">
                  <c:v>518.2934709287199</c:v>
                </c:pt>
                <c:pt idx="71">
                  <c:v>519.57101984879455</c:v>
                </c:pt>
                <c:pt idx="72">
                  <c:v>520.44322400768147</c:v>
                </c:pt>
                <c:pt idx="73">
                  <c:v>520.92768252961423</c:v>
                </c:pt>
                <c:pt idx="74">
                  <c:v>520.95161409585842</c:v>
                </c:pt>
                <c:pt idx="75">
                  <c:v>520.53766229899384</c:v>
                </c:pt>
                <c:pt idx="76">
                  <c:v>519.70207681004922</c:v>
                </c:pt>
                <c:pt idx="77">
                  <c:v>518.47602795858438</c:v>
                </c:pt>
                <c:pt idx="78">
                  <c:v>516.74156595057786</c:v>
                </c:pt>
                <c:pt idx="79">
                  <c:v>514.60357015172883</c:v>
                </c:pt>
                <c:pt idx="80">
                  <c:v>512.06755245006491</c:v>
                </c:pt>
                <c:pt idx="81">
                  <c:v>509.07549855598745</c:v>
                </c:pt>
                <c:pt idx="82">
                  <c:v>505.63485816202717</c:v>
                </c:pt>
                <c:pt idx="83">
                  <c:v>501.85278156304446</c:v>
                </c:pt>
                <c:pt idx="84">
                  <c:v>497.6904414741</c:v>
                </c:pt>
                <c:pt idx="85">
                  <c:v>493.06988057134839</c:v>
                </c:pt>
                <c:pt idx="86">
                  <c:v>488.17451158187072</c:v>
                </c:pt>
                <c:pt idx="87">
                  <c:v>482.96636021318272</c:v>
                </c:pt>
                <c:pt idx="88">
                  <c:v>477.27116661462208</c:v>
                </c:pt>
                <c:pt idx="89">
                  <c:v>471.32320501109223</c:v>
                </c:pt>
                <c:pt idx="90">
                  <c:v>465.12671713796738</c:v>
                </c:pt>
                <c:pt idx="91">
                  <c:v>458.6370755333557</c:v>
                </c:pt>
                <c:pt idx="92">
                  <c:v>451.7645754897535</c:v>
                </c:pt>
                <c:pt idx="93">
                  <c:v>444.63652898477949</c:v>
                </c:pt>
                <c:pt idx="94">
                  <c:v>437.30852180188913</c:v>
                </c:pt>
                <c:pt idx="95">
                  <c:v>429.752777227034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41.64668665069337</c:v>
                </c:pt>
                <c:pt idx="43">
                  <c:v>353.62319826544081</c:v>
                </c:pt>
                <c:pt idx="44">
                  <c:v>365.87155503051787</c:v>
                </c:pt>
                <c:pt idx="45">
                  <c:v>377.97180121542436</c:v>
                </c:pt>
                <c:pt idx="46">
                  <c:v>389.53144935754835</c:v>
                </c:pt>
                <c:pt idx="47">
                  <c:v>400.75422477289555</c:v>
                </c:pt>
                <c:pt idx="48">
                  <c:v>412.04476304534552</c:v>
                </c:pt>
                <c:pt idx="49">
                  <c:v>423.56147417204068</c:v>
                </c:pt>
                <c:pt idx="50">
                  <c:v>435.24680059366256</c:v>
                </c:pt>
                <c:pt idx="51">
                  <c:v>447.54667320878025</c:v>
                </c:pt>
                <c:pt idx="52">
                  <c:v>459.87996604060436</c:v>
                </c:pt>
                <c:pt idx="53">
                  <c:v>471.223121944833</c:v>
                </c:pt>
                <c:pt idx="54">
                  <c:v>482.17556694337122</c:v>
                </c:pt>
                <c:pt idx="55">
                  <c:v>493.15195312597996</c:v>
                </c:pt>
                <c:pt idx="56">
                  <c:v>504.2694820668998</c:v>
                </c:pt>
                <c:pt idx="57">
                  <c:v>515.55058505533054</c:v>
                </c:pt>
                <c:pt idx="58">
                  <c:v>526.92468940350386</c:v>
                </c:pt>
                <c:pt idx="59">
                  <c:v>538.29895627727547</c:v>
                </c:pt>
                <c:pt idx="60">
                  <c:v>549.3642112663905</c:v>
                </c:pt>
                <c:pt idx="61">
                  <c:v>560.13452119427075</c:v>
                </c:pt>
                <c:pt idx="62">
                  <c:v>570.65426144764706</c:v>
                </c:pt>
                <c:pt idx="63">
                  <c:v>580.92908799242514</c:v>
                </c:pt>
                <c:pt idx="64">
                  <c:v>590.88178923890223</c:v>
                </c:pt>
                <c:pt idx="65">
                  <c:v>600.56432804017481</c:v>
                </c:pt>
                <c:pt idx="66">
                  <c:v>609.88971933379764</c:v>
                </c:pt>
                <c:pt idx="67">
                  <c:v>618.85049282921432</c:v>
                </c:pt>
                <c:pt idx="68">
                  <c:v>627.29812880118004</c:v>
                </c:pt>
                <c:pt idx="69">
                  <c:v>635.26711039259067</c:v>
                </c:pt>
                <c:pt idx="70">
                  <c:v>642.7745162890277</c:v>
                </c:pt>
                <c:pt idx="71">
                  <c:v>649.61983601929296</c:v>
                </c:pt>
                <c:pt idx="72">
                  <c:v>655.90106995508131</c:v>
                </c:pt>
                <c:pt idx="73">
                  <c:v>661.61436259684513</c:v>
                </c:pt>
                <c:pt idx="74">
                  <c:v>666.66610655400473</c:v>
                </c:pt>
                <c:pt idx="75">
                  <c:v>671.05885953941038</c:v>
                </c:pt>
                <c:pt idx="76">
                  <c:v>674.79002939985082</c:v>
                </c:pt>
                <c:pt idx="77">
                  <c:v>677.87468904773516</c:v>
                </c:pt>
                <c:pt idx="78">
                  <c:v>680.1787899138817</c:v>
                </c:pt>
                <c:pt idx="79">
                  <c:v>681.79380530480557</c:v>
                </c:pt>
                <c:pt idx="80">
                  <c:v>682.7130682194545</c:v>
                </c:pt>
                <c:pt idx="81">
                  <c:v>682.86808520361319</c:v>
                </c:pt>
                <c:pt idx="82">
                  <c:v>682.25692350135955</c:v>
                </c:pt>
                <c:pt idx="83">
                  <c:v>680.98018264280574</c:v>
                </c:pt>
                <c:pt idx="84">
                  <c:v>678.99385970191793</c:v>
                </c:pt>
                <c:pt idx="85">
                  <c:v>676.21660648379441</c:v>
                </c:pt>
                <c:pt idx="86">
                  <c:v>672.83020943684858</c:v>
                </c:pt>
                <c:pt idx="87">
                  <c:v>668.79676415310496</c:v>
                </c:pt>
                <c:pt idx="88">
                  <c:v>663.94307318813617</c:v>
                </c:pt>
                <c:pt idx="89">
                  <c:v>658.5071233952649</c:v>
                </c:pt>
                <c:pt idx="90">
                  <c:v>652.49732015345785</c:v>
                </c:pt>
                <c:pt idx="91">
                  <c:v>645.87505370772749</c:v>
                </c:pt>
                <c:pt idx="92">
                  <c:v>638.54926355747898</c:v>
                </c:pt>
                <c:pt idx="93">
                  <c:v>630.66174047708523</c:v>
                </c:pt>
                <c:pt idx="94">
                  <c:v>622.277673067558</c:v>
                </c:pt>
                <c:pt idx="95">
                  <c:v>613.379960397482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42.42732528712287</c:v>
                </c:pt>
                <c:pt idx="43">
                  <c:v>355.47031752849534</c:v>
                </c:pt>
                <c:pt idx="44">
                  <c:v>369.09668283821009</c:v>
                </c:pt>
                <c:pt idx="45">
                  <c:v>382.90090896875995</c:v>
                </c:pt>
                <c:pt idx="46">
                  <c:v>396.51205645852809</c:v>
                </c:pt>
                <c:pt idx="47">
                  <c:v>410.14030297660111</c:v>
                </c:pt>
                <c:pt idx="48">
                  <c:v>424.20226975267371</c:v>
                </c:pt>
                <c:pt idx="49">
                  <c:v>438.85618181040041</c:v>
                </c:pt>
                <c:pt idx="50">
                  <c:v>454.05070874298588</c:v>
                </c:pt>
                <c:pt idx="51">
                  <c:v>470.22900707468517</c:v>
                </c:pt>
                <c:pt idx="52">
                  <c:v>486.81154253552154</c:v>
                </c:pt>
                <c:pt idx="53">
                  <c:v>502.7687617930718</c:v>
                </c:pt>
                <c:pt idx="54">
                  <c:v>518.69545110664649</c:v>
                </c:pt>
                <c:pt idx="55">
                  <c:v>534.99468414543014</c:v>
                </c:pt>
                <c:pt idx="56">
                  <c:v>551.76358789794085</c:v>
                </c:pt>
                <c:pt idx="57">
                  <c:v>568.98211766168879</c:v>
                </c:pt>
                <c:pt idx="58">
                  <c:v>586.56695138008195</c:v>
                </c:pt>
                <c:pt idx="59">
                  <c:v>604.40380624981572</c:v>
                </c:pt>
                <c:pt idx="60">
                  <c:v>622.16771805471285</c:v>
                </c:pt>
                <c:pt idx="61">
                  <c:v>639.840580897829</c:v>
                </c:pt>
                <c:pt idx="62">
                  <c:v>657.44092276869912</c:v>
                </c:pt>
                <c:pt idx="63">
                  <c:v>674.94235005483915</c:v>
                </c:pt>
                <c:pt idx="64">
                  <c:v>692.22980150692797</c:v>
                </c:pt>
                <c:pt idx="65">
                  <c:v>709.31929424175382</c:v>
                </c:pt>
                <c:pt idx="66">
                  <c:v>726.09202328133779</c:v>
                </c:pt>
                <c:pt idx="67">
                  <c:v>742.5037176068497</c:v>
                </c:pt>
                <c:pt idx="68">
                  <c:v>758.37075532401889</c:v>
                </c:pt>
                <c:pt idx="69">
                  <c:v>773.69063276145573</c:v>
                </c:pt>
                <c:pt idx="70">
                  <c:v>788.44163143759852</c:v>
                </c:pt>
                <c:pt idx="71">
                  <c:v>802.3850733532081</c:v>
                </c:pt>
                <c:pt idx="72">
                  <c:v>815.57955562829409</c:v>
                </c:pt>
                <c:pt idx="73">
                  <c:v>827.98515143141833</c:v>
                </c:pt>
                <c:pt idx="74">
                  <c:v>839.4727811212</c:v>
                </c:pt>
                <c:pt idx="75">
                  <c:v>850.01043558734409</c:v>
                </c:pt>
                <c:pt idx="76">
                  <c:v>859.56256815951201</c:v>
                </c:pt>
                <c:pt idx="77">
                  <c:v>868.11461202893577</c:v>
                </c:pt>
                <c:pt idx="78">
                  <c:v>875.50363073623271</c:v>
                </c:pt>
                <c:pt idx="79">
                  <c:v>881.79583605932953</c:v>
                </c:pt>
                <c:pt idx="80">
                  <c:v>886.96160636133118</c:v>
                </c:pt>
                <c:pt idx="81">
                  <c:v>890.91241301583852</c:v>
                </c:pt>
                <c:pt idx="82">
                  <c:v>893.62872821822589</c:v>
                </c:pt>
                <c:pt idx="83">
                  <c:v>895.19783952463058</c:v>
                </c:pt>
                <c:pt idx="84">
                  <c:v>895.5653345563577</c:v>
                </c:pt>
                <c:pt idx="85">
                  <c:v>894.64282073503568</c:v>
                </c:pt>
                <c:pt idx="86">
                  <c:v>892.60841327890103</c:v>
                </c:pt>
                <c:pt idx="87">
                  <c:v>889.42384183274362</c:v>
                </c:pt>
                <c:pt idx="88">
                  <c:v>884.91812220050235</c:v>
                </c:pt>
                <c:pt idx="89">
                  <c:v>879.33565839447783</c:v>
                </c:pt>
                <c:pt idx="90">
                  <c:v>872.69321100384059</c:v>
                </c:pt>
                <c:pt idx="91">
                  <c:v>864.96378985567367</c:v>
                </c:pt>
                <c:pt idx="92">
                  <c:v>856.06183803868464</c:v>
                </c:pt>
                <c:pt idx="93">
                  <c:v>846.15170414032718</c:v>
                </c:pt>
                <c:pt idx="94">
                  <c:v>835.31730709104045</c:v>
                </c:pt>
                <c:pt idx="95">
                  <c:v>823.562277119398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6</c:v>
                </c:pt>
                <c:pt idx="1">
                  <c:v>49</c:v>
                </c:pt>
                <c:pt idx="2">
                  <c:v>49</c:v>
                </c:pt>
                <c:pt idx="3">
                  <c:v>60</c:v>
                </c:pt>
                <c:pt idx="4">
                  <c:v>56</c:v>
                </c:pt>
                <c:pt idx="5">
                  <c:v>56</c:v>
                </c:pt>
                <c:pt idx="6">
                  <c:v>62</c:v>
                </c:pt>
                <c:pt idx="7">
                  <c:v>62</c:v>
                </c:pt>
                <c:pt idx="8">
                  <c:v>60</c:v>
                </c:pt>
                <c:pt idx="9">
                  <c:v>59</c:v>
                </c:pt>
                <c:pt idx="10">
                  <c:v>66</c:v>
                </c:pt>
                <c:pt idx="11">
                  <c:v>71</c:v>
                </c:pt>
                <c:pt idx="12">
                  <c:v>88</c:v>
                </c:pt>
                <c:pt idx="13">
                  <c:v>87</c:v>
                </c:pt>
                <c:pt idx="14">
                  <c:v>93</c:v>
                </c:pt>
                <c:pt idx="15">
                  <c:v>96</c:v>
                </c:pt>
                <c:pt idx="16">
                  <c:v>98</c:v>
                </c:pt>
                <c:pt idx="17">
                  <c:v>112</c:v>
                </c:pt>
                <c:pt idx="18">
                  <c:v>138</c:v>
                </c:pt>
                <c:pt idx="19">
                  <c:v>143</c:v>
                </c:pt>
                <c:pt idx="20">
                  <c:v>154</c:v>
                </c:pt>
                <c:pt idx="21">
                  <c:v>178</c:v>
                </c:pt>
                <c:pt idx="22">
                  <c:v>187</c:v>
                </c:pt>
                <c:pt idx="23">
                  <c:v>197</c:v>
                </c:pt>
                <c:pt idx="24">
                  <c:v>240</c:v>
                </c:pt>
                <c:pt idx="25">
                  <c:v>290</c:v>
                </c:pt>
                <c:pt idx="26">
                  <c:v>308</c:v>
                </c:pt>
                <c:pt idx="27">
                  <c:v>319</c:v>
                </c:pt>
                <c:pt idx="28">
                  <c:v>340</c:v>
                </c:pt>
                <c:pt idx="29">
                  <c:v>342</c:v>
                </c:pt>
                <c:pt idx="30">
                  <c:v>355</c:v>
                </c:pt>
                <c:pt idx="31">
                  <c:v>435</c:v>
                </c:pt>
                <c:pt idx="32">
                  <c:v>519</c:v>
                </c:pt>
                <c:pt idx="33">
                  <c:v>570</c:v>
                </c:pt>
                <c:pt idx="34">
                  <c:v>572</c:v>
                </c:pt>
                <c:pt idx="35">
                  <c:v>593</c:v>
                </c:pt>
                <c:pt idx="36">
                  <c:v>590</c:v>
                </c:pt>
                <c:pt idx="37">
                  <c:v>606</c:v>
                </c:pt>
                <c:pt idx="38">
                  <c:v>683</c:v>
                </c:pt>
                <c:pt idx="39">
                  <c:v>700</c:v>
                </c:pt>
                <c:pt idx="40">
                  <c:v>697</c:v>
                </c:pt>
                <c:pt idx="41">
                  <c:v>711</c:v>
                </c:pt>
                <c:pt idx="42">
                  <c:v>753</c:v>
                </c:pt>
                <c:pt idx="43">
                  <c:v>738</c:v>
                </c:pt>
                <c:pt idx="44">
                  <c:v>750</c:v>
                </c:pt>
                <c:pt idx="45">
                  <c:v>832</c:v>
                </c:pt>
                <c:pt idx="46">
                  <c:v>805</c:v>
                </c:pt>
                <c:pt idx="47">
                  <c:v>792</c:v>
                </c:pt>
                <c:pt idx="48">
                  <c:v>837</c:v>
                </c:pt>
                <c:pt idx="49">
                  <c:v>843</c:v>
                </c:pt>
                <c:pt idx="50">
                  <c:v>8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73.7675339182473</c:v>
                </c:pt>
                <c:pt idx="43">
                  <c:v>695.41600544288985</c:v>
                </c:pt>
                <c:pt idx="44">
                  <c:v>717.0100737086259</c:v>
                </c:pt>
                <c:pt idx="45">
                  <c:v>737.70574444858107</c:v>
                </c:pt>
                <c:pt idx="46">
                  <c:v>756.70204195561951</c:v>
                </c:pt>
                <c:pt idx="47">
                  <c:v>774.39615052457054</c:v>
                </c:pt>
                <c:pt idx="48">
                  <c:v>791.56979901368743</c:v>
                </c:pt>
                <c:pt idx="49">
                  <c:v>808.55133586927843</c:v>
                </c:pt>
                <c:pt idx="50">
                  <c:v>825.23126026192085</c:v>
                </c:pt>
                <c:pt idx="51">
                  <c:v>842.50653466484664</c:v>
                </c:pt>
                <c:pt idx="52">
                  <c:v>859.23897325816029</c:v>
                </c:pt>
                <c:pt idx="53">
                  <c:v>873.43547474682123</c:v>
                </c:pt>
                <c:pt idx="54">
                  <c:v>886.30158619933786</c:v>
                </c:pt>
                <c:pt idx="55">
                  <c:v>898.68235744832793</c:v>
                </c:pt>
                <c:pt idx="56">
                  <c:v>910.85624055431697</c:v>
                </c:pt>
                <c:pt idx="57">
                  <c:v>922.95351627131504</c:v>
                </c:pt>
                <c:pt idx="58">
                  <c:v>934.86779562395395</c:v>
                </c:pt>
                <c:pt idx="59">
                  <c:v>946.4576984965438</c:v>
                </c:pt>
                <c:pt idx="60">
                  <c:v>957.13798306441527</c:v>
                </c:pt>
                <c:pt idx="61">
                  <c:v>966.9998147907628</c:v>
                </c:pt>
                <c:pt idx="62">
                  <c:v>976.17171936296859</c:v>
                </c:pt>
                <c:pt idx="63">
                  <c:v>984.71759421632396</c:v>
                </c:pt>
                <c:pt idx="64">
                  <c:v>992.54646982756117</c:v>
                </c:pt>
                <c:pt idx="65">
                  <c:v>999.81571200345502</c:v>
                </c:pt>
                <c:pt idx="66">
                  <c:v>1006.3980152319158</c:v>
                </c:pt>
                <c:pt idx="67">
                  <c:v>1012.3290967127846</c:v>
                </c:pt>
                <c:pt idx="68">
                  <c:v>1017.3634301233922</c:v>
                </c:pt>
                <c:pt idx="69">
                  <c:v>1021.6155922776016</c:v>
                </c:pt>
                <c:pt idx="70">
                  <c:v>1025.1714980828824</c:v>
                </c:pt>
                <c:pt idx="71">
                  <c:v>1027.6823651050972</c:v>
                </c:pt>
                <c:pt idx="72">
                  <c:v>1029.391697544216</c:v>
                </c:pt>
                <c:pt idx="73">
                  <c:v>1030.3334684954364</c:v>
                </c:pt>
                <c:pt idx="74">
                  <c:v>1030.3624273659996</c:v>
                </c:pt>
                <c:pt idx="75">
                  <c:v>1029.524978284074</c:v>
                </c:pt>
                <c:pt idx="76">
                  <c:v>1027.8523285040219</c:v>
                </c:pt>
                <c:pt idx="77">
                  <c:v>1025.4081423465286</c:v>
                </c:pt>
                <c:pt idx="78">
                  <c:v>1021.9579744480786</c:v>
                </c:pt>
                <c:pt idx="79">
                  <c:v>1017.7107882920742</c:v>
                </c:pt>
                <c:pt idx="80">
                  <c:v>1012.6757926260009</c:v>
                </c:pt>
                <c:pt idx="81">
                  <c:v>1006.7363609998366</c:v>
                </c:pt>
                <c:pt idx="82">
                  <c:v>999.91031792163449</c:v>
                </c:pt>
                <c:pt idx="83">
                  <c:v>992.4087962236589</c:v>
                </c:pt>
                <c:pt idx="84">
                  <c:v>984.15536543395979</c:v>
                </c:pt>
                <c:pt idx="85">
                  <c:v>974.99697032482095</c:v>
                </c:pt>
                <c:pt idx="86">
                  <c:v>965.29656279554501</c:v>
                </c:pt>
                <c:pt idx="87">
                  <c:v>954.97819761153869</c:v>
                </c:pt>
                <c:pt idx="88">
                  <c:v>943.69279399709444</c:v>
                </c:pt>
                <c:pt idx="89">
                  <c:v>931.90829929354436</c:v>
                </c:pt>
                <c:pt idx="90">
                  <c:v>919.63279976598938</c:v>
                </c:pt>
                <c:pt idx="91">
                  <c:v>906.77760562812</c:v>
                </c:pt>
                <c:pt idx="92">
                  <c:v>893.16610416221852</c:v>
                </c:pt>
                <c:pt idx="93">
                  <c:v>879.04950773088308</c:v>
                </c:pt>
                <c:pt idx="94">
                  <c:v>864.53723289841196</c:v>
                </c:pt>
                <c:pt idx="95">
                  <c:v>849.57482028923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75.30499571996324</c:v>
                </c:pt>
                <c:pt idx="43">
                  <c:v>699.04216435675926</c:v>
                </c:pt>
                <c:pt idx="44">
                  <c:v>723.31696605927903</c:v>
                </c:pt>
                <c:pt idx="45">
                  <c:v>747.30249517663776</c:v>
                </c:pt>
                <c:pt idx="46">
                  <c:v>770.22799540794949</c:v>
                </c:pt>
                <c:pt idx="47">
                  <c:v>792.48995023740724</c:v>
                </c:pt>
                <c:pt idx="48">
                  <c:v>814.87983307804109</c:v>
                </c:pt>
                <c:pt idx="49">
                  <c:v>837.71146266491678</c:v>
                </c:pt>
                <c:pt idx="50">
                  <c:v>860.87352927363827</c:v>
                </c:pt>
                <c:pt idx="51">
                  <c:v>885.24377146786128</c:v>
                </c:pt>
                <c:pt idx="52">
                  <c:v>909.67400404655393</c:v>
                </c:pt>
                <c:pt idx="53">
                  <c:v>932.14734007685433</c:v>
                </c:pt>
                <c:pt idx="54">
                  <c:v>953.84952810049845</c:v>
                </c:pt>
                <c:pt idx="55">
                  <c:v>975.59346259711901</c:v>
                </c:pt>
                <c:pt idx="56">
                  <c:v>997.61052993505427</c:v>
                </c:pt>
                <c:pt idx="57">
                  <c:v>1019.9422268217927</c:v>
                </c:pt>
                <c:pt idx="58">
                  <c:v>1042.454243530058</c:v>
                </c:pt>
                <c:pt idx="59">
                  <c:v>1064.9625690221683</c:v>
                </c:pt>
                <c:pt idx="60">
                  <c:v>1086.8531599075013</c:v>
                </c:pt>
                <c:pt idx="61">
                  <c:v>1108.1589296922377</c:v>
                </c:pt>
                <c:pt idx="62">
                  <c:v>1128.9654619118846</c:v>
                </c:pt>
                <c:pt idx="63">
                  <c:v>1149.2844150938238</c:v>
                </c:pt>
                <c:pt idx="64">
                  <c:v>1168.9636933497577</c:v>
                </c:pt>
                <c:pt idx="65">
                  <c:v>1188.1059321047308</c:v>
                </c:pt>
                <c:pt idx="66">
                  <c:v>1206.5394300159314</c:v>
                </c:pt>
                <c:pt idx="67">
                  <c:v>1224.2481896745076</c:v>
                </c:pt>
                <c:pt idx="68">
                  <c:v>1240.9404879605459</c:v>
                </c:pt>
                <c:pt idx="69">
                  <c:v>1256.6828576326998</c:v>
                </c:pt>
                <c:pt idx="70">
                  <c:v>1271.5111548988448</c:v>
                </c:pt>
                <c:pt idx="71">
                  <c:v>1285.0289576938858</c:v>
                </c:pt>
                <c:pt idx="72">
                  <c:v>1297.4304447409868</c:v>
                </c:pt>
                <c:pt idx="73">
                  <c:v>1308.7071347034396</c:v>
                </c:pt>
                <c:pt idx="74">
                  <c:v>1318.6726763557026</c:v>
                </c:pt>
                <c:pt idx="75">
                  <c:v>1327.333799806062</c:v>
                </c:pt>
                <c:pt idx="76">
                  <c:v>1334.6845034221146</c:v>
                </c:pt>
                <c:pt idx="77">
                  <c:v>1340.7566586580672</c:v>
                </c:pt>
                <c:pt idx="78">
                  <c:v>1345.2840219986299</c:v>
                </c:pt>
                <c:pt idx="79">
                  <c:v>1348.4491135954552</c:v>
                </c:pt>
                <c:pt idx="80">
                  <c:v>1350.2371178242586</c:v>
                </c:pt>
                <c:pt idx="81">
                  <c:v>1350.5107476463884</c:v>
                </c:pt>
                <c:pt idx="82">
                  <c:v>1349.2693209995155</c:v>
                </c:pt>
                <c:pt idx="83">
                  <c:v>1346.7110916513284</c:v>
                </c:pt>
                <c:pt idx="84">
                  <c:v>1342.7494594207944</c:v>
                </c:pt>
                <c:pt idx="85">
                  <c:v>1337.224729012185</c:v>
                </c:pt>
                <c:pt idx="86">
                  <c:v>1330.4967015646241</c:v>
                </c:pt>
                <c:pt idx="87">
                  <c:v>1322.489634444325</c:v>
                </c:pt>
                <c:pt idx="88">
                  <c:v>1312.8565943989361</c:v>
                </c:pt>
                <c:pt idx="89">
                  <c:v>1302.0729420561197</c:v>
                </c:pt>
                <c:pt idx="90">
                  <c:v>1290.1550393177415</c:v>
                </c:pt>
                <c:pt idx="91">
                  <c:v>1277.0261459125845</c:v>
                </c:pt>
                <c:pt idx="92">
                  <c:v>1262.5067944051502</c:v>
                </c:pt>
                <c:pt idx="93">
                  <c:v>1246.8770188268916</c:v>
                </c:pt>
                <c:pt idx="94">
                  <c:v>1230.2652595373324</c:v>
                </c:pt>
                <c:pt idx="95">
                  <c:v>1212.63819951586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76.8522626236097</c:v>
                </c:pt>
                <c:pt idx="43">
                  <c:v>702.70330126613464</c:v>
                </c:pt>
                <c:pt idx="44">
                  <c:v>729.70919824637906</c:v>
                </c:pt>
                <c:pt idx="45">
                  <c:v>757.07142339876873</c:v>
                </c:pt>
                <c:pt idx="46">
                  <c:v>784.06193944457652</c:v>
                </c:pt>
                <c:pt idx="47">
                  <c:v>811.08978458837259</c:v>
                </c:pt>
                <c:pt idx="48">
                  <c:v>838.97004042224125</c:v>
                </c:pt>
                <c:pt idx="49">
                  <c:v>868.01604371726876</c:v>
                </c:pt>
                <c:pt idx="50">
                  <c:v>898.12867530732967</c:v>
                </c:pt>
                <c:pt idx="51">
                  <c:v>930.18003068709459</c:v>
                </c:pt>
                <c:pt idx="52">
                  <c:v>963.02486112919667</c:v>
                </c:pt>
                <c:pt idx="53">
                  <c:v>994.63434559034272</c:v>
                </c:pt>
                <c:pt idx="54">
                  <c:v>1026.1850062999802</c:v>
                </c:pt>
                <c:pt idx="55">
                  <c:v>1058.4665452459656</c:v>
                </c:pt>
                <c:pt idx="56">
                  <c:v>1091.6704413606267</c:v>
                </c:pt>
                <c:pt idx="57">
                  <c:v>1125.754162981568</c:v>
                </c:pt>
                <c:pt idx="58">
                  <c:v>1160.5580844908645</c:v>
                </c:pt>
                <c:pt idx="59">
                  <c:v>1195.8556772299992</c:v>
                </c:pt>
                <c:pt idx="60">
                  <c:v>1231.0015315159646</c:v>
                </c:pt>
                <c:pt idx="61">
                  <c:v>1265.9648529474848</c:v>
                </c:pt>
                <c:pt idx="62">
                  <c:v>1300.779994787305</c:v>
                </c:pt>
                <c:pt idx="63">
                  <c:v>1335.3952611110067</c:v>
                </c:pt>
                <c:pt idx="64">
                  <c:v>1369.5834879816707</c:v>
                </c:pt>
                <c:pt idx="65">
                  <c:v>1403.3762348347545</c:v>
                </c:pt>
                <c:pt idx="66">
                  <c:v>1436.5388195894861</c:v>
                </c:pt>
                <c:pt idx="67">
                  <c:v>1468.9824368395875</c:v>
                </c:pt>
                <c:pt idx="68">
                  <c:v>1500.34592322613</c:v>
                </c:pt>
                <c:pt idx="69">
                  <c:v>1530.6226394827881</c:v>
                </c:pt>
                <c:pt idx="70">
                  <c:v>1559.7717187550256</c:v>
                </c:pt>
                <c:pt idx="71">
                  <c:v>1587.3212412438609</c:v>
                </c:pt>
                <c:pt idx="72">
                  <c:v>1613.3874901117015</c:v>
                </c:pt>
                <c:pt idx="73">
                  <c:v>1637.8906151155293</c:v>
                </c:pt>
                <c:pt idx="74">
                  <c:v>1660.5741991080035</c:v>
                </c:pt>
                <c:pt idx="75">
                  <c:v>1681.3766668785024</c:v>
                </c:pt>
                <c:pt idx="76">
                  <c:v>1700.2269122462289</c:v>
                </c:pt>
                <c:pt idx="77">
                  <c:v>1717.0982533840524</c:v>
                </c:pt>
                <c:pt idx="78">
                  <c:v>1731.6673846059653</c:v>
                </c:pt>
                <c:pt idx="79">
                  <c:v>1744.0669717269402</c:v>
                </c:pt>
                <c:pt idx="80">
                  <c:v>1754.2369051083272</c:v>
                </c:pt>
                <c:pt idx="81">
                  <c:v>1762.0003851794063</c:v>
                </c:pt>
                <c:pt idx="82">
                  <c:v>1767.3220327964832</c:v>
                </c:pt>
                <c:pt idx="83">
                  <c:v>1770.3739064627107</c:v>
                </c:pt>
                <c:pt idx="84">
                  <c:v>1771.0489438261029</c:v>
                </c:pt>
                <c:pt idx="85">
                  <c:v>1769.1736445583695</c:v>
                </c:pt>
                <c:pt idx="86">
                  <c:v>1765.1006765609509</c:v>
                </c:pt>
                <c:pt idx="87">
                  <c:v>1758.753699991461</c:v>
                </c:pt>
                <c:pt idx="88">
                  <c:v>1749.7902665792369</c:v>
                </c:pt>
                <c:pt idx="89">
                  <c:v>1738.6985589987989</c:v>
                </c:pt>
                <c:pt idx="90">
                  <c:v>1725.5115619849021</c:v>
                </c:pt>
                <c:pt idx="91">
                  <c:v>1710.1756179943379</c:v>
                </c:pt>
                <c:pt idx="92">
                  <c:v>1692.5220198177954</c:v>
                </c:pt>
                <c:pt idx="93">
                  <c:v>1672.8756462209976</c:v>
                </c:pt>
                <c:pt idx="94">
                  <c:v>1651.4020524205678</c:v>
                </c:pt>
                <c:pt idx="95">
                  <c:v>1628.10898419793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601</c:v>
                </c:pt>
                <c:pt idx="1">
                  <c:v>628</c:v>
                </c:pt>
                <c:pt idx="2">
                  <c:v>653</c:v>
                </c:pt>
                <c:pt idx="3">
                  <c:v>706</c:v>
                </c:pt>
                <c:pt idx="4">
                  <c:v>746</c:v>
                </c:pt>
                <c:pt idx="5">
                  <c:v>799</c:v>
                </c:pt>
                <c:pt idx="6">
                  <c:v>838</c:v>
                </c:pt>
                <c:pt idx="7">
                  <c:v>889</c:v>
                </c:pt>
                <c:pt idx="8">
                  <c:v>919</c:v>
                </c:pt>
                <c:pt idx="9">
                  <c:v>953</c:v>
                </c:pt>
                <c:pt idx="10">
                  <c:v>1033</c:v>
                </c:pt>
                <c:pt idx="11">
                  <c:v>1096</c:v>
                </c:pt>
                <c:pt idx="12">
                  <c:v>1161</c:v>
                </c:pt>
                <c:pt idx="13">
                  <c:v>1220</c:v>
                </c:pt>
                <c:pt idx="14">
                  <c:v>1303</c:v>
                </c:pt>
                <c:pt idx="15">
                  <c:v>1373</c:v>
                </c:pt>
                <c:pt idx="16">
                  <c:v>1424</c:v>
                </c:pt>
                <c:pt idx="17">
                  <c:v>1557</c:v>
                </c:pt>
                <c:pt idx="18">
                  <c:v>1699</c:v>
                </c:pt>
                <c:pt idx="19">
                  <c:v>1816</c:v>
                </c:pt>
                <c:pt idx="20">
                  <c:v>1938</c:v>
                </c:pt>
                <c:pt idx="21">
                  <c:v>2101</c:v>
                </c:pt>
                <c:pt idx="22">
                  <c:v>2213</c:v>
                </c:pt>
                <c:pt idx="23">
                  <c:v>2324</c:v>
                </c:pt>
                <c:pt idx="24">
                  <c:v>2542</c:v>
                </c:pt>
                <c:pt idx="25">
                  <c:v>2805</c:v>
                </c:pt>
                <c:pt idx="26">
                  <c:v>3045</c:v>
                </c:pt>
                <c:pt idx="27">
                  <c:v>3214</c:v>
                </c:pt>
                <c:pt idx="28">
                  <c:v>3486</c:v>
                </c:pt>
                <c:pt idx="29">
                  <c:v>3675</c:v>
                </c:pt>
                <c:pt idx="30">
                  <c:v>3879</c:v>
                </c:pt>
                <c:pt idx="31">
                  <c:v>4293</c:v>
                </c:pt>
                <c:pt idx="32">
                  <c:v>4685</c:v>
                </c:pt>
                <c:pt idx="33">
                  <c:v>5070</c:v>
                </c:pt>
                <c:pt idx="34">
                  <c:v>5457</c:v>
                </c:pt>
                <c:pt idx="35">
                  <c:v>5813</c:v>
                </c:pt>
                <c:pt idx="36">
                  <c:v>6093</c:v>
                </c:pt>
                <c:pt idx="37">
                  <c:v>6370</c:v>
                </c:pt>
                <c:pt idx="38">
                  <c:v>6907</c:v>
                </c:pt>
                <c:pt idx="39">
                  <c:v>7444</c:v>
                </c:pt>
                <c:pt idx="40">
                  <c:v>7909</c:v>
                </c:pt>
                <c:pt idx="41">
                  <c:v>8399</c:v>
                </c:pt>
                <c:pt idx="42">
                  <c:v>8931</c:v>
                </c:pt>
                <c:pt idx="43">
                  <c:v>9311</c:v>
                </c:pt>
                <c:pt idx="44">
                  <c:v>9653</c:v>
                </c:pt>
                <c:pt idx="45">
                  <c:v>10365</c:v>
                </c:pt>
                <c:pt idx="46">
                  <c:v>10984</c:v>
                </c:pt>
                <c:pt idx="47">
                  <c:v>11456</c:v>
                </c:pt>
                <c:pt idx="48">
                  <c:v>12050</c:v>
                </c:pt>
                <c:pt idx="49">
                  <c:v>12645</c:v>
                </c:pt>
                <c:pt idx="50">
                  <c:v>130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8776.1919281880491</c:v>
                </c:pt>
                <c:pt idx="43">
                  <c:v>9222.4999517273154</c:v>
                </c:pt>
                <c:pt idx="44">
                  <c:v>9678.1599510149736</c:v>
                </c:pt>
                <c:pt idx="45">
                  <c:v>10145.105870684472</c:v>
                </c:pt>
                <c:pt idx="46">
                  <c:v>10623.867288922789</c:v>
                </c:pt>
                <c:pt idx="47">
                  <c:v>11111.864161385087</c:v>
                </c:pt>
                <c:pt idx="48">
                  <c:v>11609.067940833569</c:v>
                </c:pt>
                <c:pt idx="49">
                  <c:v>12113.581872592711</c:v>
                </c:pt>
                <c:pt idx="50">
                  <c:v>12624.49634650418</c:v>
                </c:pt>
                <c:pt idx="51">
                  <c:v>13142.890771395785</c:v>
                </c:pt>
                <c:pt idx="52">
                  <c:v>13667.115731774904</c:v>
                </c:pt>
                <c:pt idx="53">
                  <c:v>14196.939560553576</c:v>
                </c:pt>
                <c:pt idx="54">
                  <c:v>14733.725323032782</c:v>
                </c:pt>
                <c:pt idx="55">
                  <c:v>15275.525238334711</c:v>
                </c:pt>
                <c:pt idx="56">
                  <c:v>15821.685128832069</c:v>
                </c:pt>
                <c:pt idx="57">
                  <c:v>16372.686913275156</c:v>
                </c:pt>
                <c:pt idx="58">
                  <c:v>16927.651216965663</c:v>
                </c:pt>
                <c:pt idx="59">
                  <c:v>17485.824097695127</c:v>
                </c:pt>
                <c:pt idx="60">
                  <c:v>18047.29797863221</c:v>
                </c:pt>
                <c:pt idx="61">
                  <c:v>18611.887891283099</c:v>
                </c:pt>
                <c:pt idx="62">
                  <c:v>19178.676839199823</c:v>
                </c:pt>
                <c:pt idx="63">
                  <c:v>19747.067678033334</c:v>
                </c:pt>
                <c:pt idx="64">
                  <c:v>20317.048591975727</c:v>
                </c:pt>
                <c:pt idx="65">
                  <c:v>20887.544757999698</c:v>
                </c:pt>
                <c:pt idx="66">
                  <c:v>21458.219829308448</c:v>
                </c:pt>
                <c:pt idx="67">
                  <c:v>22029.305785881028</c:v>
                </c:pt>
                <c:pt idx="68">
                  <c:v>22599.605850864849</c:v>
                </c:pt>
                <c:pt idx="69">
                  <c:v>23168.835799318738</c:v>
                </c:pt>
                <c:pt idx="70">
                  <c:v>23736.511808217201</c:v>
                </c:pt>
                <c:pt idx="71">
                  <c:v>24302.152274457119</c:v>
                </c:pt>
                <c:pt idx="72">
                  <c:v>24865.289031716573</c:v>
                </c:pt>
                <c:pt idx="73">
                  <c:v>25425.467235019529</c:v>
                </c:pt>
                <c:pt idx="74">
                  <c:v>25982.241691247498</c:v>
                </c:pt>
                <c:pt idx="75">
                  <c:v>26535.177087967113</c:v>
                </c:pt>
                <c:pt idx="76">
                  <c:v>27083.84945551294</c:v>
                </c:pt>
                <c:pt idx="77">
                  <c:v>27627.847473953148</c:v>
                </c:pt>
                <c:pt idx="78">
                  <c:v>28166.774678643455</c:v>
                </c:pt>
                <c:pt idx="79">
                  <c:v>28700.250775272209</c:v>
                </c:pt>
                <c:pt idx="80">
                  <c:v>29227.91224223957</c:v>
                </c:pt>
                <c:pt idx="81">
                  <c:v>29749.412919043993</c:v>
                </c:pt>
                <c:pt idx="82">
                  <c:v>30264.42440824151</c:v>
                </c:pt>
                <c:pt idx="83">
                  <c:v>30772.636338852455</c:v>
                </c:pt>
                <c:pt idx="84">
                  <c:v>31273.756891433968</c:v>
                </c:pt>
                <c:pt idx="85">
                  <c:v>31767.513221607016</c:v>
                </c:pt>
                <c:pt idx="86">
                  <c:v>32253.651642173714</c:v>
                </c:pt>
                <c:pt idx="87">
                  <c:v>32731.93783719256</c:v>
                </c:pt>
                <c:pt idx="88">
                  <c:v>33202.157042391074</c:v>
                </c:pt>
                <c:pt idx="89">
                  <c:v>33664.113970645951</c:v>
                </c:pt>
                <c:pt idx="90">
                  <c:v>34117.632620229371</c:v>
                </c:pt>
                <c:pt idx="91">
                  <c:v>34562.55623838897</c:v>
                </c:pt>
                <c:pt idx="92">
                  <c:v>34998.747102494293</c:v>
                </c:pt>
                <c:pt idx="93">
                  <c:v>35426.086171801137</c:v>
                </c:pt>
                <c:pt idx="94">
                  <c:v>35844.472802423181</c:v>
                </c:pt>
                <c:pt idx="95">
                  <c:v>36253.8243605847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8785.1944352793253</c:v>
                </c:pt>
                <c:pt idx="43">
                  <c:v>9244.1095942403135</c:v>
                </c:pt>
                <c:pt idx="44">
                  <c:v>9716.4064503475893</c:v>
                </c:pt>
                <c:pt idx="45">
                  <c:v>10204.428597163409</c:v>
                </c:pt>
                <c:pt idx="46">
                  <c:v>10709.10103558105</c:v>
                </c:pt>
                <c:pt idx="47">
                  <c:v>11228.217396543881</c:v>
                </c:pt>
                <c:pt idx="48">
                  <c:v>11762.072279501188</c:v>
                </c:pt>
                <c:pt idx="49">
                  <c:v>12309.056115929861</c:v>
                </c:pt>
                <c:pt idx="50">
                  <c:v>12868.506603850043</c:v>
                </c:pt>
                <c:pt idx="51">
                  <c:v>13441.716338589244</c:v>
                </c:pt>
                <c:pt idx="52">
                  <c:v>14027.226325498279</c:v>
                </c:pt>
                <c:pt idx="53">
                  <c:v>14624.960851436741</c:v>
                </c:pt>
                <c:pt idx="54">
                  <c:v>15236.409134839134</c:v>
                </c:pt>
                <c:pt idx="55">
                  <c:v>15859.720789570951</c:v>
                </c:pt>
                <c:pt idx="56">
                  <c:v>16494.308259645059</c:v>
                </c:pt>
                <c:pt idx="57">
                  <c:v>17140.688421690116</c:v>
                </c:pt>
                <c:pt idx="58">
                  <c:v>17797.990585320513</c:v>
                </c:pt>
                <c:pt idx="59">
                  <c:v>18465.442133264907</c:v>
                </c:pt>
                <c:pt idx="60">
                  <c:v>19143.083968595387</c:v>
                </c:pt>
                <c:pt idx="61">
                  <c:v>19830.647682946284</c:v>
                </c:pt>
                <c:pt idx="62">
                  <c:v>20527.104433823159</c:v>
                </c:pt>
                <c:pt idx="63">
                  <c:v>21231.713380962261</c:v>
                </c:pt>
                <c:pt idx="64">
                  <c:v>21944.288333662487</c:v>
                </c:pt>
                <c:pt idx="65">
                  <c:v>22663.561944936628</c:v>
                </c:pt>
                <c:pt idx="66">
                  <c:v>23388.983736911676</c:v>
                </c:pt>
                <c:pt idx="67">
                  <c:v>24120.541572201771</c:v>
                </c:pt>
                <c:pt idx="68">
                  <c:v>24856.770543267616</c:v>
                </c:pt>
                <c:pt idx="69">
                  <c:v>25597.092801957722</c:v>
                </c:pt>
                <c:pt idx="70">
                  <c:v>26340.709110251235</c:v>
                </c:pt>
                <c:pt idx="71">
                  <c:v>27086.802827917723</c:v>
                </c:pt>
                <c:pt idx="72">
                  <c:v>27834.557099731948</c:v>
                </c:pt>
                <c:pt idx="73">
                  <c:v>28583.156223718775</c:v>
                </c:pt>
                <c:pt idx="74">
                  <c:v>29331.782118833038</c:v>
                </c:pt>
                <c:pt idx="75">
                  <c:v>30079.61637047484</c:v>
                </c:pt>
                <c:pt idx="76">
                  <c:v>30825.844042946399</c:v>
                </c:pt>
                <c:pt idx="77">
                  <c:v>31569.657280114807</c:v>
                </c:pt>
                <c:pt idx="78">
                  <c:v>32310.260221682707</c:v>
                </c:pt>
                <c:pt idx="79">
                  <c:v>33046.872676103798</c:v>
                </c:pt>
                <c:pt idx="80">
                  <c:v>33778.732779040918</c:v>
                </c:pt>
                <c:pt idx="81">
                  <c:v>34505.099592856466</c:v>
                </c:pt>
                <c:pt idx="82">
                  <c:v>35225.255418304223</c:v>
                </c:pt>
                <c:pt idx="83">
                  <c:v>35938.50786223296</c:v>
                </c:pt>
                <c:pt idx="84">
                  <c:v>36644.192169150396</c:v>
                </c:pt>
                <c:pt idx="85">
                  <c:v>37341.673329584955</c:v>
                </c:pt>
                <c:pt idx="86">
                  <c:v>38030.34776112999</c:v>
                </c:pt>
                <c:pt idx="87">
                  <c:v>38709.644914808719</c:v>
                </c:pt>
                <c:pt idx="88">
                  <c:v>39379.028723206517</c:v>
                </c:pt>
                <c:pt idx="89">
                  <c:v>40037.998578456994</c:v>
                </c:pt>
                <c:pt idx="90">
                  <c:v>40686.090016525493</c:v>
                </c:pt>
                <c:pt idx="91">
                  <c:v>41322.875489522332</c:v>
                </c:pt>
                <c:pt idx="92">
                  <c:v>41947.964757167589</c:v>
                </c:pt>
                <c:pt idx="93">
                  <c:v>42561.00497362607</c:v>
                </c:pt>
                <c:pt idx="94">
                  <c:v>43161.680735770875</c:v>
                </c:pt>
                <c:pt idx="95">
                  <c:v>43749.7138756010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8794.2542889358119</c:v>
                </c:pt>
                <c:pt idx="43">
                  <c:v>9265.9262891918497</c:v>
                </c:pt>
                <c:pt idx="44">
                  <c:v>9755.1636288459868</c:v>
                </c:pt>
                <c:pt idx="45">
                  <c:v>10264.793203547584</c:v>
                </c:pt>
                <c:pt idx="46">
                  <c:v>10796.219800205516</c:v>
                </c:pt>
                <c:pt idx="47">
                  <c:v>11347.704742898617</c:v>
                </c:pt>
                <c:pt idx="48">
                  <c:v>11919.968434984617</c:v>
                </c:pt>
                <c:pt idx="49">
                  <c:v>12511.798565692898</c:v>
                </c:pt>
                <c:pt idx="50">
                  <c:v>13122.89584843754</c:v>
                </c:pt>
                <c:pt idx="51">
                  <c:v>13754.885929786029</c:v>
                </c:pt>
                <c:pt idx="52">
                  <c:v>14406.622378160428</c:v>
                </c:pt>
                <c:pt idx="53">
                  <c:v>15078.307478545878</c:v>
                </c:pt>
                <c:pt idx="54">
                  <c:v>15771.676688761028</c:v>
                </c:pt>
                <c:pt idx="55">
                  <c:v>16485.093033776902</c:v>
                </c:pt>
                <c:pt idx="56">
                  <c:v>17218.146220252333</c:v>
                </c:pt>
                <c:pt idx="57">
                  <c:v>17971.490785190352</c:v>
                </c:pt>
                <c:pt idx="58">
                  <c:v>18744.358359950478</c:v>
                </c:pt>
                <c:pt idx="59">
                  <c:v>19536.04042158238</c:v>
                </c:pt>
                <c:pt idx="60">
                  <c:v>20346.595314949009</c:v>
                </c:pt>
                <c:pt idx="61">
                  <c:v>21175.724836163317</c:v>
                </c:pt>
                <c:pt idx="62">
                  <c:v>22022.32494247716</c:v>
                </c:pt>
                <c:pt idx="63">
                  <c:v>22885.529897400294</c:v>
                </c:pt>
                <c:pt idx="64">
                  <c:v>23764.97895250946</c:v>
                </c:pt>
                <c:pt idx="65">
                  <c:v>24659.194154696459</c:v>
                </c:pt>
                <c:pt idx="66">
                  <c:v>25567.374377661308</c:v>
                </c:pt>
                <c:pt idx="67">
                  <c:v>26489.205841634459</c:v>
                </c:pt>
                <c:pt idx="68">
                  <c:v>27422.877501819843</c:v>
                </c:pt>
                <c:pt idx="69">
                  <c:v>28367.419774330381</c:v>
                </c:pt>
                <c:pt idx="70">
                  <c:v>29321.600734113545</c:v>
                </c:pt>
                <c:pt idx="71">
                  <c:v>30284.133211488777</c:v>
                </c:pt>
                <c:pt idx="72">
                  <c:v>31253.700038418479</c:v>
                </c:pt>
                <c:pt idx="73">
                  <c:v>32228.95819905811</c:v>
                </c:pt>
                <c:pt idx="74">
                  <c:v>33208.536651835311</c:v>
                </c:pt>
                <c:pt idx="75">
                  <c:v>34191.041988560639</c:v>
                </c:pt>
                <c:pt idx="76">
                  <c:v>35175.066672993977</c:v>
                </c:pt>
                <c:pt idx="77">
                  <c:v>36159.197114754497</c:v>
                </c:pt>
                <c:pt idx="78">
                  <c:v>37142.023663643435</c:v>
                </c:pt>
                <c:pt idx="79">
                  <c:v>38122.148976411234</c:v>
                </c:pt>
                <c:pt idx="80">
                  <c:v>39098.195028545269</c:v>
                </c:pt>
                <c:pt idx="81">
                  <c:v>40068.810001520687</c:v>
                </c:pt>
                <c:pt idx="82">
                  <c:v>41032.67471478958</c:v>
                </c:pt>
                <c:pt idx="83">
                  <c:v>41988.508611238416</c:v>
                </c:pt>
                <c:pt idx="84">
                  <c:v>42935.075905802922</c:v>
                </c:pt>
                <c:pt idx="85">
                  <c:v>43871.191235154991</c:v>
                </c:pt>
                <c:pt idx="86">
                  <c:v>44795.72450593581</c:v>
                </c:pt>
                <c:pt idx="87">
                  <c:v>45707.605371621736</c:v>
                </c:pt>
                <c:pt idx="88">
                  <c:v>46605.827221623338</c:v>
                </c:pt>
                <c:pt idx="89">
                  <c:v>47489.450249930203</c:v>
                </c:pt>
                <c:pt idx="90">
                  <c:v>48357.603821739023</c:v>
                </c:pt>
                <c:pt idx="91">
                  <c:v>49209.488653823202</c:v>
                </c:pt>
                <c:pt idx="92">
                  <c:v>50044.378181448665</c:v>
                </c:pt>
                <c:pt idx="93">
                  <c:v>50861.619223432222</c:v>
                </c:pt>
                <c:pt idx="94">
                  <c:v>51660.632310680339</c:v>
                </c:pt>
                <c:pt idx="95">
                  <c:v>52440.9114085279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8</c:v>
                </c:pt>
                <c:pt idx="1">
                  <c:v>115</c:v>
                </c:pt>
                <c:pt idx="2">
                  <c:v>120</c:v>
                </c:pt>
                <c:pt idx="3">
                  <c:v>131</c:v>
                </c:pt>
                <c:pt idx="4">
                  <c:v>140</c:v>
                </c:pt>
                <c:pt idx="5">
                  <c:v>150</c:v>
                </c:pt>
                <c:pt idx="6">
                  <c:v>154</c:v>
                </c:pt>
                <c:pt idx="7">
                  <c:v>158</c:v>
                </c:pt>
                <c:pt idx="8">
                  <c:v>161</c:v>
                </c:pt>
                <c:pt idx="9">
                  <c:v>170</c:v>
                </c:pt>
                <c:pt idx="10">
                  <c:v>178</c:v>
                </c:pt>
                <c:pt idx="11">
                  <c:v>187</c:v>
                </c:pt>
                <c:pt idx="12">
                  <c:v>194</c:v>
                </c:pt>
                <c:pt idx="13">
                  <c:v>205</c:v>
                </c:pt>
                <c:pt idx="14">
                  <c:v>209</c:v>
                </c:pt>
                <c:pt idx="15">
                  <c:v>215</c:v>
                </c:pt>
                <c:pt idx="16">
                  <c:v>219</c:v>
                </c:pt>
                <c:pt idx="17">
                  <c:v>239</c:v>
                </c:pt>
                <c:pt idx="18">
                  <c:v>252</c:v>
                </c:pt>
                <c:pt idx="19">
                  <c:v>261</c:v>
                </c:pt>
                <c:pt idx="20">
                  <c:v>271</c:v>
                </c:pt>
                <c:pt idx="21">
                  <c:v>288</c:v>
                </c:pt>
                <c:pt idx="22">
                  <c:v>304</c:v>
                </c:pt>
                <c:pt idx="23">
                  <c:v>319</c:v>
                </c:pt>
                <c:pt idx="24">
                  <c:v>329</c:v>
                </c:pt>
                <c:pt idx="25">
                  <c:v>353</c:v>
                </c:pt>
                <c:pt idx="26">
                  <c:v>380</c:v>
                </c:pt>
                <c:pt idx="27">
                  <c:v>402</c:v>
                </c:pt>
                <c:pt idx="28">
                  <c:v>430</c:v>
                </c:pt>
                <c:pt idx="29">
                  <c:v>447</c:v>
                </c:pt>
                <c:pt idx="30">
                  <c:v>469</c:v>
                </c:pt>
                <c:pt idx="31">
                  <c:v>500</c:v>
                </c:pt>
                <c:pt idx="32">
                  <c:v>555</c:v>
                </c:pt>
                <c:pt idx="33">
                  <c:v>612</c:v>
                </c:pt>
                <c:pt idx="34">
                  <c:v>647</c:v>
                </c:pt>
                <c:pt idx="35">
                  <c:v>687</c:v>
                </c:pt>
                <c:pt idx="36">
                  <c:v>722</c:v>
                </c:pt>
                <c:pt idx="37">
                  <c:v>755</c:v>
                </c:pt>
                <c:pt idx="38">
                  <c:v>812</c:v>
                </c:pt>
                <c:pt idx="39">
                  <c:v>868</c:v>
                </c:pt>
                <c:pt idx="40">
                  <c:v>906</c:v>
                </c:pt>
                <c:pt idx="41">
                  <c:v>947</c:v>
                </c:pt>
                <c:pt idx="42">
                  <c:v>998</c:v>
                </c:pt>
                <c:pt idx="43">
                  <c:v>1052</c:v>
                </c:pt>
                <c:pt idx="44">
                  <c:v>1087</c:v>
                </c:pt>
                <c:pt idx="45">
                  <c:v>1161</c:v>
                </c:pt>
                <c:pt idx="46">
                  <c:v>1232</c:v>
                </c:pt>
                <c:pt idx="47">
                  <c:v>1289</c:v>
                </c:pt>
                <c:pt idx="48">
                  <c:v>1365</c:v>
                </c:pt>
                <c:pt idx="49">
                  <c:v>1425</c:v>
                </c:pt>
                <c:pt idx="50">
                  <c:v>14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93.08552732030023</c:v>
                </c:pt>
                <c:pt idx="43">
                  <c:v>1043.2005333181869</c:v>
                </c:pt>
                <c:pt idx="44">
                  <c:v>1094.3765071635617</c:v>
                </c:pt>
                <c:pt idx="45">
                  <c:v>1146.8309288412684</c:v>
                </c:pt>
                <c:pt idx="46">
                  <c:v>1200.6234153392716</c:v>
                </c:pt>
                <c:pt idx="47">
                  <c:v>1255.4589419943375</c:v>
                </c:pt>
                <c:pt idx="48">
                  <c:v>1311.3313346656576</c:v>
                </c:pt>
                <c:pt idx="49">
                  <c:v>1368.0226105083825</c:v>
                </c:pt>
                <c:pt idx="50">
                  <c:v>1425.4346318735707</c:v>
                </c:pt>
                <c:pt idx="51">
                  <c:v>1483.6888629963983</c:v>
                </c:pt>
                <c:pt idx="52">
                  <c:v>1542.5957728264736</c:v>
                </c:pt>
                <c:pt idx="53">
                  <c:v>1602.1312013004153</c:v>
                </c:pt>
                <c:pt idx="54">
                  <c:v>1662.4464343202039</c:v>
                </c:pt>
                <c:pt idx="55">
                  <c:v>1723.3228978883758</c:v>
                </c:pt>
                <c:pt idx="56">
                  <c:v>1784.686821294591</c:v>
                </c:pt>
                <c:pt idx="57">
                  <c:v>1846.5925788924687</c:v>
                </c:pt>
                <c:pt idx="58">
                  <c:v>1908.9420619682026</c:v>
                </c:pt>
                <c:pt idx="59">
                  <c:v>1971.6483772243043</c:v>
                </c:pt>
                <c:pt idx="60">
                  <c:v>2034.7203395379377</c:v>
                </c:pt>
                <c:pt idx="61">
                  <c:v>2098.141293977852</c:v>
                </c:pt>
                <c:pt idx="62">
                  <c:v>2161.8057944545444</c:v>
                </c:pt>
                <c:pt idx="63">
                  <c:v>2225.6468772142716</c:v>
                </c:pt>
                <c:pt idx="64">
                  <c:v>2289.6648828154048</c:v>
                </c:pt>
                <c:pt idx="65">
                  <c:v>2353.7391977973712</c:v>
                </c:pt>
                <c:pt idx="66">
                  <c:v>2417.831276205794</c:v>
                </c:pt>
                <c:pt idx="67">
                  <c:v>2481.9649288454543</c:v>
                </c:pt>
                <c:pt idx="68">
                  <c:v>2546.0080340670547</c:v>
                </c:pt>
                <c:pt idx="69">
                  <c:v>2609.9280586454602</c:v>
                </c:pt>
                <c:pt idx="70">
                  <c:v>2673.6706953209932</c:v>
                </c:pt>
                <c:pt idx="71">
                  <c:v>2737.1818838591989</c:v>
                </c:pt>
                <c:pt idx="72">
                  <c:v>2800.4090783716092</c:v>
                </c:pt>
                <c:pt idx="73">
                  <c:v>2863.3012367654487</c:v>
                </c:pt>
                <c:pt idx="74">
                  <c:v>2925.8084104223508</c:v>
                </c:pt>
                <c:pt idx="75">
                  <c:v>2987.8817689126636</c:v>
                </c:pt>
                <c:pt idx="76">
                  <c:v>3049.4737640570861</c:v>
                </c:pt>
                <c:pt idx="77">
                  <c:v>3110.538276421059</c:v>
                </c:pt>
                <c:pt idx="78">
                  <c:v>3171.0308606539902</c:v>
                </c:pt>
                <c:pt idx="79">
                  <c:v>3230.9088933118187</c:v>
                </c:pt>
                <c:pt idx="80">
                  <c:v>3290.1316402025673</c:v>
                </c:pt>
                <c:pt idx="81">
                  <c:v>3348.6603222843805</c:v>
                </c:pt>
                <c:pt idx="82">
                  <c:v>3406.4581600163528</c:v>
                </c:pt>
                <c:pt idx="83">
                  <c:v>3463.4904020836539</c:v>
                </c:pt>
                <c:pt idx="84">
                  <c:v>3519.7243842839007</c:v>
                </c:pt>
                <c:pt idx="85">
                  <c:v>3575.1295764342426</c:v>
                </c:pt>
                <c:pt idx="86">
                  <c:v>3629.6776018530109</c:v>
                </c:pt>
                <c:pt idx="87">
                  <c:v>3683.3422608839633</c:v>
                </c:pt>
                <c:pt idx="88">
                  <c:v>3736.0995510230141</c:v>
                </c:pt>
                <c:pt idx="89">
                  <c:v>3787.9276580874803</c:v>
                </c:pt>
                <c:pt idx="90">
                  <c:v>3838.8069337116081</c:v>
                </c:pt>
                <c:pt idx="91">
                  <c:v>3888.7198913272655</c:v>
                </c:pt>
                <c:pt idx="92">
                  <c:v>3937.6511809360422</c:v>
                </c:pt>
                <c:pt idx="93">
                  <c:v>3985.5875492529581</c:v>
                </c:pt>
                <c:pt idx="94">
                  <c:v>4032.5178071984469</c:v>
                </c:pt>
                <c:pt idx="95">
                  <c:v>4078.43278631706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94.10034812648951</c:v>
                </c:pt>
                <c:pt idx="43">
                  <c:v>1045.6365255010162</c:v>
                </c:pt>
                <c:pt idx="44">
                  <c:v>1098.6878908572564</c:v>
                </c:pt>
                <c:pt idx="45">
                  <c:v>1153.5180487352573</c:v>
                </c:pt>
                <c:pt idx="46">
                  <c:v>1210.2311292479478</c:v>
                </c:pt>
                <c:pt idx="47">
                  <c:v>1268.5741353750352</c:v>
                </c:pt>
                <c:pt idx="48">
                  <c:v>1328.5771362749201</c:v>
                </c:pt>
                <c:pt idx="49">
                  <c:v>1390.0543041552478</c:v>
                </c:pt>
                <c:pt idx="50">
                  <c:v>1452.9351175952677</c:v>
                </c:pt>
                <c:pt idx="51">
                  <c:v>1517.3648026400328</c:v>
                </c:pt>
                <c:pt idx="52">
                  <c:v>1583.1750415846234</c:v>
                </c:pt>
                <c:pt idx="53">
                  <c:v>1650.3589830552103</c:v>
                </c:pt>
                <c:pt idx="54">
                  <c:v>1719.0818843543343</c:v>
                </c:pt>
                <c:pt idx="55">
                  <c:v>1789.1358985411637</c:v>
                </c:pt>
                <c:pt idx="56">
                  <c:v>1860.4545200871789</c:v>
                </c:pt>
                <c:pt idx="57">
                  <c:v>1933.0958368277782</c:v>
                </c:pt>
                <c:pt idx="58">
                  <c:v>2006.9625120033425</c:v>
                </c:pt>
                <c:pt idx="59">
                  <c:v>2081.9653541305161</c:v>
                </c:pt>
                <c:pt idx="60">
                  <c:v>2158.1071942874401</c:v>
                </c:pt>
                <c:pt idx="61">
                  <c:v>2235.3618145870942</c:v>
                </c:pt>
                <c:pt idx="62">
                  <c:v>2313.6110397809175</c:v>
                </c:pt>
                <c:pt idx="63">
                  <c:v>2392.7715962651046</c:v>
                </c:pt>
                <c:pt idx="64">
                  <c:v>2472.8240655996487</c:v>
                </c:pt>
                <c:pt idx="65">
                  <c:v>2553.6260561958761</c:v>
                </c:pt>
                <c:pt idx="66">
                  <c:v>2635.1148204663987</c:v>
                </c:pt>
                <c:pt idx="67">
                  <c:v>2717.2866079950209</c:v>
                </c:pt>
                <c:pt idx="68">
                  <c:v>2799.9790434633405</c:v>
                </c:pt>
                <c:pt idx="69">
                  <c:v>2883.1264919055739</c:v>
                </c:pt>
                <c:pt idx="70">
                  <c:v>2966.6391090763555</c:v>
                </c:pt>
                <c:pt idx="71">
                  <c:v>3050.4251015648078</c:v>
                </c:pt>
                <c:pt idx="72">
                  <c:v>3134.392668620585</c:v>
                </c:pt>
                <c:pt idx="73">
                  <c:v>3218.4501596264267</c:v>
                </c:pt>
                <c:pt idx="74">
                  <c:v>3302.5056801155351</c:v>
                </c:pt>
                <c:pt idx="75">
                  <c:v>3386.4673204927662</c:v>
                </c:pt>
                <c:pt idx="76">
                  <c:v>3470.2435843397507</c:v>
                </c:pt>
                <c:pt idx="77">
                  <c:v>3553.7437925971485</c:v>
                </c:pt>
                <c:pt idx="78">
                  <c:v>3636.8786324242428</c:v>
                </c:pt>
                <c:pt idx="79">
                  <c:v>3719.5605699726671</c:v>
                </c:pt>
                <c:pt idx="80">
                  <c:v>3801.7041485090499</c:v>
                </c:pt>
                <c:pt idx="81">
                  <c:v>3883.2262798730485</c:v>
                </c:pt>
                <c:pt idx="82">
                  <c:v>3964.0465026850725</c:v>
                </c:pt>
                <c:pt idx="83">
                  <c:v>4044.0872130449661</c:v>
                </c:pt>
                <c:pt idx="84">
                  <c:v>4123.2739257778048</c:v>
                </c:pt>
                <c:pt idx="85">
                  <c:v>4201.5355098139444</c:v>
                </c:pt>
                <c:pt idx="86">
                  <c:v>4278.8043750342322</c:v>
                </c:pt>
                <c:pt idx="87">
                  <c:v>4355.016651312475</c:v>
                </c:pt>
                <c:pt idx="88">
                  <c:v>4430.112350248819</c:v>
                </c:pt>
                <c:pt idx="89">
                  <c:v>4504.0354736057097</c:v>
                </c:pt>
                <c:pt idx="90">
                  <c:v>4576.7340880595102</c:v>
                </c:pt>
                <c:pt idx="91">
                  <c:v>4648.1604112509576</c:v>
                </c:pt>
                <c:pt idx="92">
                  <c:v>4718.2708540703807</c:v>
                </c:pt>
                <c:pt idx="93">
                  <c:v>4787.0260285928616</c:v>
                </c:pt>
                <c:pt idx="94">
                  <c:v>4854.3907520393277</c:v>
                </c:pt>
                <c:pt idx="95">
                  <c:v>4920.33402250450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95.12162637851418</c:v>
                </c:pt>
                <c:pt idx="43">
                  <c:v>1048.0958402943475</c:v>
                </c:pt>
                <c:pt idx="44">
                  <c:v>1103.0568088820917</c:v>
                </c:pt>
                <c:pt idx="45">
                  <c:v>1160.322561230641</c:v>
                </c:pt>
                <c:pt idx="46">
                  <c:v>1220.0512446648249</c:v>
                </c:pt>
                <c:pt idx="47">
                  <c:v>1282.0424781237425</c:v>
                </c:pt>
                <c:pt idx="48">
                  <c:v>1346.3741316174464</c:v>
                </c:pt>
                <c:pt idx="49">
                  <c:v>1412.9049203628031</c:v>
                </c:pt>
                <c:pt idx="50">
                  <c:v>1481.6049552618929</c:v>
                </c:pt>
                <c:pt idx="51">
                  <c:v>1552.6567009011396</c:v>
                </c:pt>
                <c:pt idx="52">
                  <c:v>1625.9267775365151</c:v>
                </c:pt>
                <c:pt idx="53">
                  <c:v>1701.4393466936883</c:v>
                </c:pt>
                <c:pt idx="54">
                  <c:v>1779.3871114826479</c:v>
                </c:pt>
                <c:pt idx="55">
                  <c:v>1859.5859585381065</c:v>
                </c:pt>
                <c:pt idx="56">
                  <c:v>1941.9890402796177</c:v>
                </c:pt>
                <c:pt idx="57">
                  <c:v>2026.6696478621222</c:v>
                </c:pt>
                <c:pt idx="58">
                  <c:v>2113.5416781437793</c:v>
                </c:pt>
                <c:pt idx="59">
                  <c:v>2202.5228730700178</c:v>
                </c:pt>
                <c:pt idx="60">
                  <c:v>2293.6177514693427</c:v>
                </c:pt>
                <c:pt idx="61">
                  <c:v>2386.7964754558971</c:v>
                </c:pt>
                <c:pt idx="62">
                  <c:v>2481.9321669369456</c:v>
                </c:pt>
                <c:pt idx="63">
                  <c:v>2578.9272580341494</c:v>
                </c:pt>
                <c:pt idx="64">
                  <c:v>2677.7424488726288</c:v>
                </c:pt>
                <c:pt idx="65">
                  <c:v>2778.2114337689763</c:v>
                </c:pt>
                <c:pt idx="66">
                  <c:v>2880.2430559715208</c:v>
                </c:pt>
                <c:pt idx="67">
                  <c:v>2983.7994376449483</c:v>
                </c:pt>
                <c:pt idx="68">
                  <c:v>3088.6790858355826</c:v>
                </c:pt>
                <c:pt idx="69">
                  <c:v>3194.7721454854332</c:v>
                </c:pt>
                <c:pt idx="70">
                  <c:v>3301.9399700820991</c:v>
                </c:pt>
                <c:pt idx="71">
                  <c:v>3410.0377268773173</c:v>
                </c:pt>
                <c:pt idx="72">
                  <c:v>3518.9172500430063</c:v>
                </c:pt>
                <c:pt idx="73">
                  <c:v>3628.4275136726178</c:v>
                </c:pt>
                <c:pt idx="74">
                  <c:v>3738.4143923177689</c:v>
                </c:pt>
                <c:pt idx="75">
                  <c:v>3848.7212965714357</c:v>
                </c:pt>
                <c:pt idx="76">
                  <c:v>3959.1900996758104</c:v>
                </c:pt>
                <c:pt idx="77">
                  <c:v>4069.6620448800659</c:v>
                </c:pt>
                <c:pt idx="78">
                  <c:v>4179.9788640109264</c:v>
                </c:pt>
                <c:pt idx="79">
                  <c:v>4289.983717865859</c:v>
                </c:pt>
                <c:pt idx="80">
                  <c:v>4399.5219832019975</c:v>
                </c:pt>
                <c:pt idx="81">
                  <c:v>4508.4420252888449</c:v>
                </c:pt>
                <c:pt idx="82">
                  <c:v>4616.595917812163</c:v>
                </c:pt>
                <c:pt idx="83">
                  <c:v>4723.8401122945688</c:v>
                </c:pt>
                <c:pt idx="84">
                  <c:v>4830.0361267428789</c:v>
                </c:pt>
                <c:pt idx="85">
                  <c:v>4935.0511770395133</c:v>
                </c:pt>
                <c:pt idx="86">
                  <c:v>5038.7587173643842</c:v>
                </c:pt>
                <c:pt idx="87">
                  <c:v>5141.0389395442407</c:v>
                </c:pt>
                <c:pt idx="88">
                  <c:v>5241.7792180937076</c:v>
                </c:pt>
                <c:pt idx="89">
                  <c:v>5340.874451115822</c:v>
                </c:pt>
                <c:pt idx="90">
                  <c:v>5438.227321391978</c:v>
                </c:pt>
                <c:pt idx="91">
                  <c:v>5533.7485384107713</c:v>
                </c:pt>
                <c:pt idx="92">
                  <c:v>5627.356987722158</c:v>
                </c:pt>
                <c:pt idx="93">
                  <c:v>5718.9798013140617</c:v>
                </c:pt>
                <c:pt idx="94">
                  <c:v>5808.55239073741</c:v>
                </c:pt>
                <c:pt idx="95">
                  <c:v>5896.01841290193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5</c:v>
                </c:pt>
                <c:pt idx="1">
                  <c:v>35</c:v>
                </c:pt>
                <c:pt idx="2">
                  <c:v>37</c:v>
                </c:pt>
                <c:pt idx="3">
                  <c:v>43</c:v>
                </c:pt>
                <c:pt idx="4">
                  <c:v>48</c:v>
                </c:pt>
                <c:pt idx="5">
                  <c:v>51</c:v>
                </c:pt>
                <c:pt idx="6">
                  <c:v>51</c:v>
                </c:pt>
                <c:pt idx="7">
                  <c:v>59</c:v>
                </c:pt>
                <c:pt idx="8">
                  <c:v>60</c:v>
                </c:pt>
                <c:pt idx="9">
                  <c:v>62</c:v>
                </c:pt>
                <c:pt idx="10">
                  <c:v>68</c:v>
                </c:pt>
                <c:pt idx="11">
                  <c:v>70</c:v>
                </c:pt>
                <c:pt idx="12">
                  <c:v>72</c:v>
                </c:pt>
                <c:pt idx="13">
                  <c:v>75</c:v>
                </c:pt>
                <c:pt idx="14">
                  <c:v>80</c:v>
                </c:pt>
                <c:pt idx="15">
                  <c:v>86</c:v>
                </c:pt>
                <c:pt idx="16">
                  <c:v>87</c:v>
                </c:pt>
                <c:pt idx="17">
                  <c:v>92</c:v>
                </c:pt>
                <c:pt idx="18">
                  <c:v>105</c:v>
                </c:pt>
                <c:pt idx="19">
                  <c:v>111</c:v>
                </c:pt>
                <c:pt idx="20">
                  <c:v>118</c:v>
                </c:pt>
                <c:pt idx="21">
                  <c:v>125</c:v>
                </c:pt>
                <c:pt idx="22">
                  <c:v>128</c:v>
                </c:pt>
                <c:pt idx="23">
                  <c:v>137</c:v>
                </c:pt>
                <c:pt idx="24">
                  <c:v>142</c:v>
                </c:pt>
                <c:pt idx="25">
                  <c:v>154</c:v>
                </c:pt>
                <c:pt idx="26">
                  <c:v>167</c:v>
                </c:pt>
                <c:pt idx="27">
                  <c:v>174</c:v>
                </c:pt>
                <c:pt idx="28">
                  <c:v>185</c:v>
                </c:pt>
                <c:pt idx="29">
                  <c:v>191</c:v>
                </c:pt>
                <c:pt idx="30">
                  <c:v>208</c:v>
                </c:pt>
                <c:pt idx="31">
                  <c:v>230</c:v>
                </c:pt>
                <c:pt idx="32">
                  <c:v>249</c:v>
                </c:pt>
                <c:pt idx="33">
                  <c:v>271</c:v>
                </c:pt>
                <c:pt idx="34">
                  <c:v>293</c:v>
                </c:pt>
                <c:pt idx="35">
                  <c:v>322</c:v>
                </c:pt>
                <c:pt idx="36">
                  <c:v>332</c:v>
                </c:pt>
                <c:pt idx="37">
                  <c:v>357</c:v>
                </c:pt>
                <c:pt idx="38">
                  <c:v>385</c:v>
                </c:pt>
                <c:pt idx="39">
                  <c:v>410</c:v>
                </c:pt>
                <c:pt idx="40">
                  <c:v>442</c:v>
                </c:pt>
                <c:pt idx="41">
                  <c:v>466</c:v>
                </c:pt>
                <c:pt idx="42">
                  <c:v>510</c:v>
                </c:pt>
                <c:pt idx="43">
                  <c:v>530</c:v>
                </c:pt>
                <c:pt idx="44">
                  <c:v>550</c:v>
                </c:pt>
                <c:pt idx="45">
                  <c:v>591</c:v>
                </c:pt>
                <c:pt idx="46">
                  <c:v>653</c:v>
                </c:pt>
                <c:pt idx="47">
                  <c:v>686</c:v>
                </c:pt>
                <c:pt idx="48">
                  <c:v>705</c:v>
                </c:pt>
                <c:pt idx="49">
                  <c:v>736</c:v>
                </c:pt>
                <c:pt idx="50">
                  <c:v>7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85.42328848093143</c:v>
                </c:pt>
                <c:pt idx="43">
                  <c:v>509.33913871662537</c:v>
                </c:pt>
                <c:pt idx="44">
                  <c:v>533.76366772428355</c:v>
                </c:pt>
                <c:pt idx="45">
                  <c:v>558.80073115941013</c:v>
                </c:pt>
                <c:pt idx="46">
                  <c:v>584.47881245845633</c:v>
                </c:pt>
                <c:pt idx="47">
                  <c:v>610.65596193132046</c:v>
                </c:pt>
                <c:pt idx="48">
                  <c:v>637.32858647240664</c:v>
                </c:pt>
                <c:pt idx="49">
                  <c:v>664.39157121285234</c:v>
                </c:pt>
                <c:pt idx="50">
                  <c:v>691.79895445791453</c:v>
                </c:pt>
                <c:pt idx="51">
                  <c:v>719.60875785173016</c:v>
                </c:pt>
                <c:pt idx="52">
                  <c:v>747.72959209576049</c:v>
                </c:pt>
                <c:pt idx="53">
                  <c:v>776.15033127518768</c:v>
                </c:pt>
                <c:pt idx="54">
                  <c:v>804.94278639719755</c:v>
                </c:pt>
                <c:pt idx="55">
                  <c:v>834.00267984820584</c:v>
                </c:pt>
                <c:pt idx="56">
                  <c:v>863.29473831723953</c:v>
                </c:pt>
                <c:pt idx="57">
                  <c:v>892.84496708687561</c:v>
                </c:pt>
                <c:pt idx="58">
                  <c:v>922.60668499067674</c:v>
                </c:pt>
                <c:pt idx="59">
                  <c:v>952.53793806287626</c:v>
                </c:pt>
                <c:pt idx="60">
                  <c:v>982.64259242137575</c:v>
                </c:pt>
                <c:pt idx="61">
                  <c:v>1012.9135963782119</c:v>
                </c:pt>
                <c:pt idx="62">
                  <c:v>1043.3000891139402</c:v>
                </c:pt>
                <c:pt idx="63">
                  <c:v>1073.7701334765115</c:v>
                </c:pt>
                <c:pt idx="64">
                  <c:v>1104.3242551982039</c:v>
                </c:pt>
                <c:pt idx="65">
                  <c:v>1134.9049118013183</c:v>
                </c:pt>
                <c:pt idx="66">
                  <c:v>1165.4935388731417</c:v>
                </c:pt>
                <c:pt idx="67">
                  <c:v>1196.1010119195075</c:v>
                </c:pt>
                <c:pt idx="68">
                  <c:v>1226.6647726769856</c:v>
                </c:pt>
                <c:pt idx="69">
                  <c:v>1257.1691609940094</c:v>
                </c:pt>
                <c:pt idx="70">
                  <c:v>1287.5882648023487</c:v>
                </c:pt>
                <c:pt idx="71">
                  <c:v>1317.8962894298757</c:v>
                </c:pt>
                <c:pt idx="72">
                  <c:v>1348.0681640903235</c:v>
                </c:pt>
                <c:pt idx="73">
                  <c:v>1378.0795373738456</c:v>
                </c:pt>
                <c:pt idx="74">
                  <c:v>1407.9065818080064</c:v>
                </c:pt>
                <c:pt idx="75">
                  <c:v>1437.526005438385</c:v>
                </c:pt>
                <c:pt idx="76">
                  <c:v>1466.9151300974272</c:v>
                </c:pt>
                <c:pt idx="77">
                  <c:v>1496.0519612573107</c:v>
                </c:pt>
                <c:pt idx="78">
                  <c:v>1524.9153046056435</c:v>
                </c:pt>
                <c:pt idx="79">
                  <c:v>1553.4848366238593</c:v>
                </c:pt>
                <c:pt idx="80">
                  <c:v>1581.7411366616936</c:v>
                </c:pt>
                <c:pt idx="81">
                  <c:v>1609.6657183478253</c:v>
                </c:pt>
                <c:pt idx="82">
                  <c:v>1637.241050584086</c:v>
                </c:pt>
                <c:pt idx="83">
                  <c:v>1664.450571067988</c:v>
                </c:pt>
                <c:pt idx="84">
                  <c:v>1691.2787143785511</c:v>
                </c:pt>
                <c:pt idx="85">
                  <c:v>1717.7109342196993</c:v>
                </c:pt>
                <c:pt idx="86">
                  <c:v>1743.733712506428</c:v>
                </c:pt>
                <c:pt idx="87">
                  <c:v>1769.3345704790968</c:v>
                </c:pt>
                <c:pt idx="88">
                  <c:v>1794.5020782796635</c:v>
                </c:pt>
                <c:pt idx="89">
                  <c:v>1819.2258506366015</c:v>
                </c:pt>
                <c:pt idx="90">
                  <c:v>1843.4965359134058</c:v>
                </c:pt>
                <c:pt idx="91">
                  <c:v>1867.3058142057967</c:v>
                </c:pt>
                <c:pt idx="92">
                  <c:v>1890.6463851601679</c:v>
                </c:pt>
                <c:pt idx="93">
                  <c:v>1913.5119487892216</c:v>
                </c:pt>
                <c:pt idx="94">
                  <c:v>1935.897189848992</c:v>
                </c:pt>
                <c:pt idx="95">
                  <c:v>1957.79775700740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85.90844060552837</c:v>
                </c:pt>
                <c:pt idx="43">
                  <c:v>510.50370862056138</c:v>
                </c:pt>
                <c:pt idx="44">
                  <c:v>535.82479513180169</c:v>
                </c:pt>
                <c:pt idx="45">
                  <c:v>561.99759475578571</c:v>
                </c:pt>
                <c:pt idx="46">
                  <c:v>589.07185783519037</c:v>
                </c:pt>
                <c:pt idx="47">
                  <c:v>616.92570598796351</c:v>
                </c:pt>
                <c:pt idx="48">
                  <c:v>645.5728329246042</c:v>
                </c:pt>
                <c:pt idx="49">
                  <c:v>674.92344864184975</c:v>
                </c:pt>
                <c:pt idx="50">
                  <c:v>704.9447370056123</c:v>
                </c:pt>
                <c:pt idx="51">
                  <c:v>735.70602081490847</c:v>
                </c:pt>
                <c:pt idx="52">
                  <c:v>767.12599745832972</c:v>
                </c:pt>
                <c:pt idx="53">
                  <c:v>799.20175682858462</c:v>
                </c:pt>
                <c:pt idx="54">
                  <c:v>832.01173507834937</c:v>
                </c:pt>
                <c:pt idx="55">
                  <c:v>865.45672818130674</c:v>
                </c:pt>
                <c:pt idx="56">
                  <c:v>899.50488294015202</c:v>
                </c:pt>
                <c:pt idx="57">
                  <c:v>934.18393062989094</c:v>
                </c:pt>
                <c:pt idx="58">
                  <c:v>969.44751421280876</c:v>
                </c:pt>
                <c:pt idx="59">
                  <c:v>1005.2525391546437</c:v>
                </c:pt>
                <c:pt idx="60">
                  <c:v>1041.5999727008623</c:v>
                </c:pt>
                <c:pt idx="61">
                  <c:v>1078.4781573480827</c:v>
                </c:pt>
                <c:pt idx="62">
                  <c:v>1115.8301206001211</c:v>
                </c:pt>
                <c:pt idx="63">
                  <c:v>1153.6161039088236</c:v>
                </c:pt>
                <c:pt idx="64">
                  <c:v>1191.8271646800672</c:v>
                </c:pt>
                <c:pt idx="65">
                  <c:v>1230.395332635532</c:v>
                </c:pt>
                <c:pt idx="66">
                  <c:v>1269.2904596095773</c:v>
                </c:pt>
                <c:pt idx="67">
                  <c:v>1308.5102357308244</c:v>
                </c:pt>
                <c:pt idx="68">
                  <c:v>1347.9776333325512</c:v>
                </c:pt>
                <c:pt idx="69">
                  <c:v>1387.6611668487762</c:v>
                </c:pt>
                <c:pt idx="70">
                  <c:v>1427.5179392016084</c:v>
                </c:pt>
                <c:pt idx="71">
                  <c:v>1467.5041241994861</c:v>
                </c:pt>
                <c:pt idx="72">
                  <c:v>1507.5758958084266</c:v>
                </c:pt>
                <c:pt idx="73">
                  <c:v>1547.6895041364241</c:v>
                </c:pt>
                <c:pt idx="74">
                  <c:v>1587.8010879955368</c:v>
                </c:pt>
                <c:pt idx="75">
                  <c:v>1627.8667838417387</c:v>
                </c:pt>
                <c:pt idx="76">
                  <c:v>1667.8429302166373</c:v>
                </c:pt>
                <c:pt idx="77">
                  <c:v>1707.6862606030234</c:v>
                </c:pt>
                <c:pt idx="78">
                  <c:v>1747.3541646589256</c:v>
                </c:pt>
                <c:pt idx="79">
                  <c:v>1786.8048852773838</c:v>
                </c:pt>
                <c:pt idx="80">
                  <c:v>1825.9976607713561</c:v>
                </c:pt>
                <c:pt idx="81">
                  <c:v>1864.8928638687244</c:v>
                </c:pt>
                <c:pt idx="82">
                  <c:v>1903.4521246361453</c:v>
                </c:pt>
                <c:pt idx="83">
                  <c:v>1941.6384402506328</c:v>
                </c:pt>
                <c:pt idx="84">
                  <c:v>1979.4162995489623</c:v>
                </c:pt>
                <c:pt idx="85">
                  <c:v>2016.7517950585507</c:v>
                </c:pt>
                <c:pt idx="86">
                  <c:v>2053.612711746272</c:v>
                </c:pt>
                <c:pt idx="87">
                  <c:v>2089.9686121706227</c:v>
                </c:pt>
                <c:pt idx="88">
                  <c:v>2125.7909134735364</c:v>
                </c:pt>
                <c:pt idx="89">
                  <c:v>2161.052938827489</c:v>
                </c:pt>
                <c:pt idx="90">
                  <c:v>2195.7299526541824</c:v>
                </c:pt>
                <c:pt idx="91">
                  <c:v>2229.799201543316</c:v>
                </c:pt>
                <c:pt idx="92">
                  <c:v>2263.2399340677816</c:v>
                </c:pt>
                <c:pt idx="93">
                  <c:v>2296.0334041750166</c:v>
                </c:pt>
                <c:pt idx="94">
                  <c:v>2328.1628727596326</c:v>
                </c:pt>
                <c:pt idx="95">
                  <c:v>2359.61359587053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86.39667829511473</c:v>
                </c:pt>
                <c:pt idx="43">
                  <c:v>511.67942445378964</c:v>
                </c:pt>
                <c:pt idx="44">
                  <c:v>537.91342069092889</c:v>
                </c:pt>
                <c:pt idx="45">
                  <c:v>565.25056795678825</c:v>
                </c:pt>
                <c:pt idx="46">
                  <c:v>593.76642581034832</c:v>
                </c:pt>
                <c:pt idx="47">
                  <c:v>623.36424693378444</c:v>
                </c:pt>
                <c:pt idx="48">
                  <c:v>654.08053396036485</c:v>
                </c:pt>
                <c:pt idx="49">
                  <c:v>685.84673967769618</c:v>
                </c:pt>
                <c:pt idx="50">
                  <c:v>718.64941017906142</c:v>
                </c:pt>
                <c:pt idx="51">
                  <c:v>752.57560455862176</c:v>
                </c:pt>
                <c:pt idx="52">
                  <c:v>787.56065861722982</c:v>
                </c:pt>
                <c:pt idx="53">
                  <c:v>823.61641799561357</c:v>
                </c:pt>
                <c:pt idx="54">
                  <c:v>860.83437209814792</c:v>
                </c:pt>
                <c:pt idx="55">
                  <c:v>899.12659293482443</c:v>
                </c:pt>
                <c:pt idx="56">
                  <c:v>938.47055476206606</c:v>
                </c:pt>
                <c:pt idx="57">
                  <c:v>978.90118878081444</c:v>
                </c:pt>
                <c:pt idx="58">
                  <c:v>1020.3774431122605</c:v>
                </c:pt>
                <c:pt idx="59">
                  <c:v>1062.859474568025</c:v>
                </c:pt>
                <c:pt idx="60">
                  <c:v>1106.3489968400386</c:v>
                </c:pt>
                <c:pt idx="61">
                  <c:v>1150.8325651333289</c:v>
                </c:pt>
                <c:pt idx="62">
                  <c:v>1196.2489974172188</c:v>
                </c:pt>
                <c:pt idx="63">
                  <c:v>1242.5516548365808</c:v>
                </c:pt>
                <c:pt idx="64">
                  <c:v>1289.7220458424158</c:v>
                </c:pt>
                <c:pt idx="65">
                  <c:v>1337.680730036416</c:v>
                </c:pt>
                <c:pt idx="66">
                  <c:v>1386.3839442598487</c:v>
                </c:pt>
                <c:pt idx="67">
                  <c:v>1435.8130364749525</c:v>
                </c:pt>
                <c:pt idx="68">
                  <c:v>1485.8722567326117</c:v>
                </c:pt>
                <c:pt idx="69">
                  <c:v>1536.5089660495205</c:v>
                </c:pt>
                <c:pt idx="70">
                  <c:v>1587.6569307486463</c:v>
                </c:pt>
                <c:pt idx="71">
                  <c:v>1639.2469686799172</c:v>
                </c:pt>
                <c:pt idx="72">
                  <c:v>1691.2083147889089</c:v>
                </c:pt>
                <c:pt idx="73">
                  <c:v>1743.4688483550622</c:v>
                </c:pt>
                <c:pt idx="74">
                  <c:v>1795.9549798241258</c:v>
                </c:pt>
                <c:pt idx="75">
                  <c:v>1848.5919541497976</c:v>
                </c:pt>
                <c:pt idx="76">
                  <c:v>1901.3042933192182</c:v>
                </c:pt>
                <c:pt idx="77">
                  <c:v>1954.016229526135</c:v>
                </c:pt>
                <c:pt idx="78">
                  <c:v>2006.6522381746649</c:v>
                </c:pt>
                <c:pt idx="79">
                  <c:v>2059.1374868505172</c:v>
                </c:pt>
                <c:pt idx="80">
                  <c:v>2111.3982108110376</c:v>
                </c:pt>
                <c:pt idx="81">
                  <c:v>2163.3620814874921</c:v>
                </c:pt>
                <c:pt idx="82">
                  <c:v>2214.9585495293654</c:v>
                </c:pt>
                <c:pt idx="83">
                  <c:v>2266.119163682305</c:v>
                </c:pt>
                <c:pt idx="84">
                  <c:v>2316.7778990388315</c:v>
                </c:pt>
                <c:pt idx="85">
                  <c:v>2366.8714576969478</c:v>
                </c:pt>
                <c:pt idx="86">
                  <c:v>2416.3395257937486</c:v>
                </c:pt>
                <c:pt idx="87">
                  <c:v>2465.1250110751071</c:v>
                </c:pt>
                <c:pt idx="88">
                  <c:v>2513.1742546490427</c:v>
                </c:pt>
                <c:pt idx="89">
                  <c:v>2560.4371928703031</c:v>
                </c:pt>
                <c:pt idx="90">
                  <c:v>2606.8674809237482</c:v>
                </c:pt>
                <c:pt idx="91">
                  <c:v>2652.4226077151661</c:v>
                </c:pt>
                <c:pt idx="92">
                  <c:v>2697.0639662454187</c:v>
                </c:pt>
                <c:pt idx="93">
                  <c:v>2740.7568862584953</c:v>
                </c:pt>
                <c:pt idx="94">
                  <c:v>2783.4706492290611</c:v>
                </c:pt>
                <c:pt idx="95">
                  <c:v>2825.1784713803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5</c:v>
                </c:pt>
                <c:pt idx="1">
                  <c:v>37</c:v>
                </c:pt>
                <c:pt idx="2">
                  <c:v>39</c:v>
                </c:pt>
                <c:pt idx="3">
                  <c:v>43</c:v>
                </c:pt>
                <c:pt idx="4">
                  <c:v>48</c:v>
                </c:pt>
                <c:pt idx="5">
                  <c:v>51</c:v>
                </c:pt>
                <c:pt idx="6">
                  <c:v>55</c:v>
                </c:pt>
                <c:pt idx="7">
                  <c:v>64</c:v>
                </c:pt>
                <c:pt idx="8">
                  <c:v>66</c:v>
                </c:pt>
                <c:pt idx="9">
                  <c:v>71</c:v>
                </c:pt>
                <c:pt idx="10">
                  <c:v>76</c:v>
                </c:pt>
                <c:pt idx="11">
                  <c:v>82</c:v>
                </c:pt>
                <c:pt idx="12">
                  <c:v>87</c:v>
                </c:pt>
                <c:pt idx="13">
                  <c:v>90</c:v>
                </c:pt>
                <c:pt idx="14">
                  <c:v>102</c:v>
                </c:pt>
                <c:pt idx="15">
                  <c:v>113</c:v>
                </c:pt>
                <c:pt idx="16">
                  <c:v>125</c:v>
                </c:pt>
                <c:pt idx="17">
                  <c:v>141</c:v>
                </c:pt>
                <c:pt idx="18">
                  <c:v>154</c:v>
                </c:pt>
                <c:pt idx="19">
                  <c:v>171</c:v>
                </c:pt>
                <c:pt idx="20">
                  <c:v>179</c:v>
                </c:pt>
                <c:pt idx="21">
                  <c:v>185</c:v>
                </c:pt>
                <c:pt idx="22">
                  <c:v>203</c:v>
                </c:pt>
                <c:pt idx="23">
                  <c:v>213</c:v>
                </c:pt>
                <c:pt idx="24">
                  <c:v>229</c:v>
                </c:pt>
                <c:pt idx="25">
                  <c:v>241</c:v>
                </c:pt>
                <c:pt idx="26">
                  <c:v>258</c:v>
                </c:pt>
                <c:pt idx="27">
                  <c:v>278</c:v>
                </c:pt>
                <c:pt idx="28">
                  <c:v>296</c:v>
                </c:pt>
                <c:pt idx="29">
                  <c:v>314</c:v>
                </c:pt>
                <c:pt idx="30">
                  <c:v>330</c:v>
                </c:pt>
                <c:pt idx="31">
                  <c:v>353</c:v>
                </c:pt>
                <c:pt idx="32">
                  <c:v>380</c:v>
                </c:pt>
                <c:pt idx="33">
                  <c:v>403</c:v>
                </c:pt>
                <c:pt idx="34">
                  <c:v>443</c:v>
                </c:pt>
                <c:pt idx="35">
                  <c:v>470</c:v>
                </c:pt>
                <c:pt idx="36">
                  <c:v>491</c:v>
                </c:pt>
                <c:pt idx="37">
                  <c:v>504</c:v>
                </c:pt>
                <c:pt idx="38">
                  <c:v>543</c:v>
                </c:pt>
                <c:pt idx="39">
                  <c:v>596</c:v>
                </c:pt>
                <c:pt idx="40">
                  <c:v>623</c:v>
                </c:pt>
                <c:pt idx="41">
                  <c:v>663</c:v>
                </c:pt>
                <c:pt idx="42">
                  <c:v>702</c:v>
                </c:pt>
                <c:pt idx="43">
                  <c:v>726</c:v>
                </c:pt>
                <c:pt idx="44">
                  <c:v>740</c:v>
                </c:pt>
                <c:pt idx="45">
                  <c:v>783</c:v>
                </c:pt>
                <c:pt idx="46">
                  <c:v>823</c:v>
                </c:pt>
                <c:pt idx="47">
                  <c:v>868</c:v>
                </c:pt>
                <c:pt idx="48">
                  <c:v>908</c:v>
                </c:pt>
                <c:pt idx="49">
                  <c:v>954</c:v>
                </c:pt>
                <c:pt idx="50">
                  <c:v>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92.08236809911512</c:v>
                </c:pt>
                <c:pt idx="43">
                  <c:v>721.76900931132093</c:v>
                </c:pt>
                <c:pt idx="44">
                  <c:v>752.07382362053556</c:v>
                </c:pt>
                <c:pt idx="45">
                  <c:v>783.12533439259641</c:v>
                </c:pt>
                <c:pt idx="46">
                  <c:v>814.95871277791935</c:v>
                </c:pt>
                <c:pt idx="47">
                  <c:v>847.40424669788001</c:v>
                </c:pt>
                <c:pt idx="48">
                  <c:v>880.46109941889642</c:v>
                </c:pt>
                <c:pt idx="49">
                  <c:v>914.00489529876518</c:v>
                </c:pt>
                <c:pt idx="50">
                  <c:v>947.97369934204221</c:v>
                </c:pt>
                <c:pt idx="51">
                  <c:v>982.43921665008884</c:v>
                </c:pt>
                <c:pt idx="52">
                  <c:v>1017.2932808178834</c:v>
                </c:pt>
                <c:pt idx="53">
                  <c:v>1052.5198191758982</c:v>
                </c:pt>
                <c:pt idx="54">
                  <c:v>1088.2101306555496</c:v>
                </c:pt>
                <c:pt idx="55">
                  <c:v>1124.2346071123502</c:v>
                </c:pt>
                <c:pt idx="56">
                  <c:v>1160.5498477486744</c:v>
                </c:pt>
                <c:pt idx="57">
                  <c:v>1197.1878146196364</c:v>
                </c:pt>
                <c:pt idx="58">
                  <c:v>1234.089788209958</c:v>
                </c:pt>
                <c:pt idx="59">
                  <c:v>1271.2064187960443</c:v>
                </c:pt>
                <c:pt idx="60">
                  <c:v>1308.5444132567734</c:v>
                </c:pt>
                <c:pt idx="61">
                  <c:v>1346.0899960296092</c:v>
                </c:pt>
                <c:pt idx="62">
                  <c:v>1383.7830588843867</c:v>
                </c:pt>
                <c:pt idx="63">
                  <c:v>1421.5838505347929</c:v>
                </c:pt>
                <c:pt idx="64">
                  <c:v>1459.4909885029954</c:v>
                </c:pt>
                <c:pt idx="65">
                  <c:v>1497.4329525585713</c:v>
                </c:pt>
                <c:pt idx="66">
                  <c:v>1535.3876486936133</c:v>
                </c:pt>
                <c:pt idx="67">
                  <c:v>1573.371307917736</c:v>
                </c:pt>
                <c:pt idx="68">
                  <c:v>1611.3035160968682</c:v>
                </c:pt>
                <c:pt idx="69">
                  <c:v>1649.1655888912769</c:v>
                </c:pt>
                <c:pt idx="70">
                  <c:v>1686.9253370731658</c:v>
                </c:pt>
                <c:pt idx="71">
                  <c:v>1724.5507198784949</c:v>
                </c:pt>
                <c:pt idx="72">
                  <c:v>1762.0105883162739</c:v>
                </c:pt>
                <c:pt idx="73">
                  <c:v>1799.2746766274083</c:v>
                </c:pt>
                <c:pt idx="74">
                  <c:v>1836.3133575902157</c:v>
                </c:pt>
                <c:pt idx="75">
                  <c:v>1873.09765809185</c:v>
                </c:pt>
                <c:pt idx="76">
                  <c:v>1909.5993564205514</c:v>
                </c:pt>
                <c:pt idx="77">
                  <c:v>1945.7910692935916</c:v>
                </c:pt>
                <c:pt idx="78">
                  <c:v>1981.6463993912689</c:v>
                </c:pt>
                <c:pt idx="79">
                  <c:v>2017.1400227716586</c:v>
                </c:pt>
                <c:pt idx="80">
                  <c:v>2052.2477290438028</c:v>
                </c:pt>
                <c:pt idx="81">
                  <c:v>2086.9464605659105</c:v>
                </c:pt>
                <c:pt idx="82">
                  <c:v>2121.2143394627192</c:v>
                </c:pt>
                <c:pt idx="83">
                  <c:v>2155.0306854511923</c:v>
                </c:pt>
                <c:pt idx="84">
                  <c:v>2188.3760507923562</c:v>
                </c:pt>
                <c:pt idx="85">
                  <c:v>2221.2322486951562</c:v>
                </c:pt>
                <c:pt idx="86">
                  <c:v>2253.582365776484</c:v>
                </c:pt>
                <c:pt idx="87">
                  <c:v>2285.4107764844498</c:v>
                </c:pt>
                <c:pt idx="88">
                  <c:v>2316.7031551457385</c:v>
                </c:pt>
                <c:pt idx="89">
                  <c:v>2347.4464711745268</c:v>
                </c:pt>
                <c:pt idx="90">
                  <c:v>2377.6289766658447</c:v>
                </c:pt>
                <c:pt idx="91">
                  <c:v>2407.2402039479466</c:v>
                </c:pt>
                <c:pt idx="92">
                  <c:v>2436.2709512587626</c:v>
                </c:pt>
                <c:pt idx="93">
                  <c:v>2464.7132598522849</c:v>
                </c:pt>
                <c:pt idx="94">
                  <c:v>2492.5603952194833</c:v>
                </c:pt>
                <c:pt idx="95">
                  <c:v>2519.80682141860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92.67976672622058</c:v>
                </c:pt>
                <c:pt idx="43">
                  <c:v>723.2030017499502</c:v>
                </c:pt>
                <c:pt idx="44">
                  <c:v>754.611831638225</c:v>
                </c:pt>
                <c:pt idx="45">
                  <c:v>787.06198292760996</c:v>
                </c:pt>
                <c:pt idx="46">
                  <c:v>820.61488867517664</c:v>
                </c:pt>
                <c:pt idx="47">
                  <c:v>855.12566772364744</c:v>
                </c:pt>
                <c:pt idx="48">
                  <c:v>890.61499286584649</c:v>
                </c:pt>
                <c:pt idx="49">
                  <c:v>926.97762403451702</c:v>
                </c:pt>
                <c:pt idx="50">
                  <c:v>964.16813111212696</c:v>
                </c:pt>
                <c:pt idx="51">
                  <c:v>1002.2724626556721</c:v>
                </c:pt>
                <c:pt idx="52">
                  <c:v>1041.1951786280586</c:v>
                </c:pt>
                <c:pt idx="53">
                  <c:v>1080.9306524480569</c:v>
                </c:pt>
                <c:pt idx="54">
                  <c:v>1121.578643689438</c:v>
                </c:pt>
                <c:pt idx="55">
                  <c:v>1163.016097366859</c:v>
                </c:pt>
                <c:pt idx="56">
                  <c:v>1205.204121236276</c:v>
                </c:pt>
                <c:pt idx="57">
                  <c:v>1248.1770784137514</c:v>
                </c:pt>
                <c:pt idx="58">
                  <c:v>1291.8768997270884</c:v>
                </c:pt>
                <c:pt idx="59">
                  <c:v>1336.2530652473602</c:v>
                </c:pt>
                <c:pt idx="60">
                  <c:v>1381.3089260365277</c:v>
                </c:pt>
                <c:pt idx="61">
                  <c:v>1427.0252257317816</c:v>
                </c:pt>
                <c:pt idx="62">
                  <c:v>1473.3344774403579</c:v>
                </c:pt>
                <c:pt idx="63">
                  <c:v>1520.187434237326</c:v>
                </c:pt>
                <c:pt idx="64">
                  <c:v>1567.5711788895851</c:v>
                </c:pt>
                <c:pt idx="65">
                  <c:v>1615.4014424842292</c:v>
                </c:pt>
                <c:pt idx="66">
                  <c:v>1663.6419441402613</c:v>
                </c:pt>
                <c:pt idx="67">
                  <c:v>1712.292730738018</c:v>
                </c:pt>
                <c:pt idx="68">
                  <c:v>1761.2556053269848</c:v>
                </c:pt>
                <c:pt idx="69">
                  <c:v>1810.4923999261146</c:v>
                </c:pt>
                <c:pt idx="70">
                  <c:v>1859.9499879736923</c:v>
                </c:pt>
                <c:pt idx="71">
                  <c:v>1909.5740836314878</c:v>
                </c:pt>
                <c:pt idx="72">
                  <c:v>1959.3103807493064</c:v>
                </c:pt>
                <c:pt idx="73">
                  <c:v>2009.1046425030777</c:v>
                </c:pt>
                <c:pt idx="74">
                  <c:v>2058.9024654892582</c:v>
                </c:pt>
                <c:pt idx="75">
                  <c:v>2108.6494161298397</c:v>
                </c:pt>
                <c:pt idx="76">
                  <c:v>2158.2912841859452</c:v>
                </c:pt>
                <c:pt idx="77">
                  <c:v>2207.7743223057018</c:v>
                </c:pt>
                <c:pt idx="78">
                  <c:v>2257.0455741722144</c:v>
                </c:pt>
                <c:pt idx="79">
                  <c:v>2306.0531186862563</c:v>
                </c:pt>
                <c:pt idx="80">
                  <c:v>2354.7462469359466</c:v>
                </c:pt>
                <c:pt idx="81">
                  <c:v>2403.0756352596031</c:v>
                </c:pt>
                <c:pt idx="82">
                  <c:v>2450.9934994995438</c:v>
                </c:pt>
                <c:pt idx="83">
                  <c:v>2498.4537330668659</c:v>
                </c:pt>
                <c:pt idx="84">
                  <c:v>2545.412062228449</c:v>
                </c:pt>
                <c:pt idx="85">
                  <c:v>2591.8261868346735</c:v>
                </c:pt>
                <c:pt idx="86">
                  <c:v>2637.6558928212389</c:v>
                </c:pt>
                <c:pt idx="87">
                  <c:v>2682.8631595350994</c:v>
                </c:pt>
                <c:pt idx="88">
                  <c:v>2727.4122563713217</c:v>
                </c:pt>
                <c:pt idx="89">
                  <c:v>2771.2698083186087</c:v>
                </c:pt>
                <c:pt idx="90">
                  <c:v>2814.4048422211595</c:v>
                </c:pt>
                <c:pt idx="91">
                  <c:v>2856.7888383899503</c:v>
                </c:pt>
                <c:pt idx="92">
                  <c:v>2898.3957572394734</c:v>
                </c:pt>
                <c:pt idx="93">
                  <c:v>2939.2020457131512</c:v>
                </c:pt>
                <c:pt idx="94">
                  <c:v>2979.1866410153953</c:v>
                </c:pt>
                <c:pt idx="95">
                  <c:v>3018.33095714861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93.28097333717824</c:v>
                </c:pt>
                <c:pt idx="43">
                  <c:v>724.65074033552548</c:v>
                </c:pt>
                <c:pt idx="44">
                  <c:v>757.18373959489691</c:v>
                </c:pt>
                <c:pt idx="45">
                  <c:v>791.06778933686189</c:v>
                </c:pt>
                <c:pt idx="46">
                  <c:v>826.39618490937903</c:v>
                </c:pt>
                <c:pt idx="47">
                  <c:v>863.05511859176931</c:v>
                </c:pt>
                <c:pt idx="48">
                  <c:v>901.09359018366717</c:v>
                </c:pt>
                <c:pt idx="49">
                  <c:v>940.43280661425911</c:v>
                </c:pt>
                <c:pt idx="50">
                  <c:v>981.05153059637973</c:v>
                </c:pt>
                <c:pt idx="51">
                  <c:v>1023.0579208565047</c:v>
                </c:pt>
                <c:pt idx="52">
                  <c:v>1066.3773847374866</c:v>
                </c:pt>
                <c:pt idx="53">
                  <c:v>1111.0228595981075</c:v>
                </c:pt>
                <c:pt idx="54">
                  <c:v>1157.1105568330563</c:v>
                </c:pt>
                <c:pt idx="55">
                  <c:v>1204.5316989775743</c:v>
                </c:pt>
                <c:pt idx="56">
                  <c:v>1253.2592727920542</c:v>
                </c:pt>
                <c:pt idx="57">
                  <c:v>1303.3368889912163</c:v>
                </c:pt>
                <c:pt idx="58">
                  <c:v>1354.7133759884123</c:v>
                </c:pt>
                <c:pt idx="59">
                  <c:v>1407.3425714621521</c:v>
                </c:pt>
                <c:pt idx="60">
                  <c:v>1461.2290835028741</c:v>
                </c:pt>
                <c:pt idx="61">
                  <c:v>1516.3517720143277</c:v>
                </c:pt>
                <c:pt idx="62">
                  <c:v>1572.6382406610037</c:v>
                </c:pt>
                <c:pt idx="63">
                  <c:v>1630.0310314932342</c:v>
                </c:pt>
                <c:pt idx="64">
                  <c:v>1688.5057168218464</c:v>
                </c:pt>
                <c:pt idx="65">
                  <c:v>1747.9641140642948</c:v>
                </c:pt>
                <c:pt idx="66">
                  <c:v>1808.3533647857003</c:v>
                </c:pt>
                <c:pt idx="67">
                  <c:v>1869.653543623353</c:v>
                </c:pt>
                <c:pt idx="68">
                  <c:v>1931.7435196067756</c:v>
                </c:pt>
                <c:pt idx="69">
                  <c:v>1994.5591513713953</c:v>
                </c:pt>
                <c:pt idx="70">
                  <c:v>2058.0186092717317</c:v>
                </c:pt>
                <c:pt idx="71">
                  <c:v>2122.0363829015105</c:v>
                </c:pt>
                <c:pt idx="72">
                  <c:v>2186.5249538266171</c:v>
                </c:pt>
                <c:pt idx="73">
                  <c:v>2251.3950691785885</c:v>
                </c:pt>
                <c:pt idx="74">
                  <c:v>2316.5555949665359</c:v>
                </c:pt>
                <c:pt idx="75">
                  <c:v>2381.9138924510589</c:v>
                </c:pt>
                <c:pt idx="76">
                  <c:v>2447.3763655985567</c:v>
                </c:pt>
                <c:pt idx="77">
                  <c:v>2512.8489978555663</c:v>
                </c:pt>
                <c:pt idx="78">
                  <c:v>2578.2380182450197</c:v>
                </c:pt>
                <c:pt idx="79">
                  <c:v>2643.4504575662286</c:v>
                </c:pt>
                <c:pt idx="80">
                  <c:v>2708.394614916524</c:v>
                </c:pt>
                <c:pt idx="81">
                  <c:v>2772.980516090995</c:v>
                </c:pt>
                <c:pt idx="82">
                  <c:v>2837.1203422468698</c:v>
                </c:pt>
                <c:pt idx="83">
                  <c:v>2900.7288289891467</c:v>
                </c:pt>
                <c:pt idx="84">
                  <c:v>2963.7236759846164</c:v>
                </c:pt>
                <c:pt idx="85">
                  <c:v>3026.0259238300855</c:v>
                </c:pt>
                <c:pt idx="86">
                  <c:v>3087.5602779602309</c:v>
                </c:pt>
                <c:pt idx="87">
                  <c:v>3148.2554076290694</c:v>
                </c:pt>
                <c:pt idx="88">
                  <c:v>3208.0442122818017</c:v>
                </c:pt>
                <c:pt idx="89">
                  <c:v>3266.8640269824059</c:v>
                </c:pt>
                <c:pt idx="90">
                  <c:v>3324.656781497406</c:v>
                </c:pt>
                <c:pt idx="91">
                  <c:v>3381.3691463273271</c:v>
                </c:pt>
                <c:pt idx="92">
                  <c:v>3436.9526251075804</c:v>
                </c:pt>
                <c:pt idx="93">
                  <c:v>3491.3636003844695</c:v>
                </c:pt>
                <c:pt idx="94">
                  <c:v>3544.5633568156513</c:v>
                </c:pt>
                <c:pt idx="95">
                  <c:v>3596.51806378392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9</c:v>
                </c:pt>
                <c:pt idx="1">
                  <c:v>53</c:v>
                </c:pt>
                <c:pt idx="2">
                  <c:v>53</c:v>
                </c:pt>
                <c:pt idx="3">
                  <c:v>61</c:v>
                </c:pt>
                <c:pt idx="4">
                  <c:v>66</c:v>
                </c:pt>
                <c:pt idx="5">
                  <c:v>72</c:v>
                </c:pt>
                <c:pt idx="6">
                  <c:v>69</c:v>
                </c:pt>
                <c:pt idx="7">
                  <c:v>72</c:v>
                </c:pt>
                <c:pt idx="8">
                  <c:v>69</c:v>
                </c:pt>
                <c:pt idx="9">
                  <c:v>73</c:v>
                </c:pt>
                <c:pt idx="10">
                  <c:v>74</c:v>
                </c:pt>
                <c:pt idx="11">
                  <c:v>78</c:v>
                </c:pt>
                <c:pt idx="12">
                  <c:v>77</c:v>
                </c:pt>
                <c:pt idx="13">
                  <c:v>82</c:v>
                </c:pt>
                <c:pt idx="14">
                  <c:v>72</c:v>
                </c:pt>
                <c:pt idx="15">
                  <c:v>72</c:v>
                </c:pt>
                <c:pt idx="16">
                  <c:v>70</c:v>
                </c:pt>
                <c:pt idx="17">
                  <c:v>88</c:v>
                </c:pt>
                <c:pt idx="18">
                  <c:v>89</c:v>
                </c:pt>
                <c:pt idx="19">
                  <c:v>92</c:v>
                </c:pt>
                <c:pt idx="20">
                  <c:v>92</c:v>
                </c:pt>
                <c:pt idx="21">
                  <c:v>100</c:v>
                </c:pt>
                <c:pt idx="22">
                  <c:v>106</c:v>
                </c:pt>
                <c:pt idx="23">
                  <c:v>113</c:v>
                </c:pt>
                <c:pt idx="24">
                  <c:v>121</c:v>
                </c:pt>
                <c:pt idx="25">
                  <c:v>136</c:v>
                </c:pt>
                <c:pt idx="26">
                  <c:v>142</c:v>
                </c:pt>
                <c:pt idx="27">
                  <c:v>128</c:v>
                </c:pt>
                <c:pt idx="28">
                  <c:v>142</c:v>
                </c:pt>
                <c:pt idx="29">
                  <c:v>146</c:v>
                </c:pt>
                <c:pt idx="30">
                  <c:v>164</c:v>
                </c:pt>
                <c:pt idx="31">
                  <c:v>198</c:v>
                </c:pt>
                <c:pt idx="32">
                  <c:v>238</c:v>
                </c:pt>
                <c:pt idx="33">
                  <c:v>276</c:v>
                </c:pt>
                <c:pt idx="34">
                  <c:v>296</c:v>
                </c:pt>
                <c:pt idx="35">
                  <c:v>319</c:v>
                </c:pt>
                <c:pt idx="36">
                  <c:v>320</c:v>
                </c:pt>
                <c:pt idx="37">
                  <c:v>328</c:v>
                </c:pt>
                <c:pt idx="38">
                  <c:v>375</c:v>
                </c:pt>
                <c:pt idx="39">
                  <c:v>385</c:v>
                </c:pt>
                <c:pt idx="40">
                  <c:v>390</c:v>
                </c:pt>
                <c:pt idx="41">
                  <c:v>400</c:v>
                </c:pt>
                <c:pt idx="42">
                  <c:v>418</c:v>
                </c:pt>
                <c:pt idx="43">
                  <c:v>432</c:v>
                </c:pt>
                <c:pt idx="44">
                  <c:v>441</c:v>
                </c:pt>
                <c:pt idx="45">
                  <c:v>501</c:v>
                </c:pt>
                <c:pt idx="46">
                  <c:v>523</c:v>
                </c:pt>
                <c:pt idx="47">
                  <c:v>527</c:v>
                </c:pt>
                <c:pt idx="48">
                  <c:v>566</c:v>
                </c:pt>
                <c:pt idx="49">
                  <c:v>585</c:v>
                </c:pt>
                <c:pt idx="50">
                  <c:v>5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32.21763199524622</c:v>
                </c:pt>
                <c:pt idx="43">
                  <c:v>446.41253624041548</c:v>
                </c:pt>
                <c:pt idx="44">
                  <c:v>460.56682266013519</c:v>
                </c:pt>
                <c:pt idx="45">
                  <c:v>474.1568428155515</c:v>
                </c:pt>
                <c:pt idx="46">
                  <c:v>486.69471926170161</c:v>
                </c:pt>
                <c:pt idx="47">
                  <c:v>498.40384605669385</c:v>
                </c:pt>
                <c:pt idx="48">
                  <c:v>509.74248592135967</c:v>
                </c:pt>
                <c:pt idx="49">
                  <c:v>520.92569787049433</c:v>
                </c:pt>
                <c:pt idx="50">
                  <c:v>531.89686631321092</c:v>
                </c:pt>
                <c:pt idx="51">
                  <c:v>543.21289292751248</c:v>
                </c:pt>
                <c:pt idx="52">
                  <c:v>554.1472473159148</c:v>
                </c:pt>
                <c:pt idx="53">
                  <c:v>563.45479949885544</c:v>
                </c:pt>
                <c:pt idx="54">
                  <c:v>571.9139859929337</c:v>
                </c:pt>
                <c:pt idx="55">
                  <c:v>580.03318367847965</c:v>
                </c:pt>
                <c:pt idx="56">
                  <c:v>587.99065936957697</c:v>
                </c:pt>
                <c:pt idx="57">
                  <c:v>595.85528374611818</c:v>
                </c:pt>
                <c:pt idx="58">
                  <c:v>603.58648076457655</c:v>
                </c:pt>
                <c:pt idx="59">
                  <c:v>611.09139038837782</c:v>
                </c:pt>
                <c:pt idx="60">
                  <c:v>617.97979509698212</c:v>
                </c:pt>
                <c:pt idx="61">
                  <c:v>624.33737630083999</c:v>
                </c:pt>
                <c:pt idx="62">
                  <c:v>630.23586523262645</c:v>
                </c:pt>
                <c:pt idx="63">
                  <c:v>635.71851795107034</c:v>
                </c:pt>
                <c:pt idx="64">
                  <c:v>640.73075986213325</c:v>
                </c:pt>
                <c:pt idx="65">
                  <c:v>645.3729944659101</c:v>
                </c:pt>
                <c:pt idx="66">
                  <c:v>649.56495244511871</c:v>
                </c:pt>
                <c:pt idx="67">
                  <c:v>653.32315918643644</c:v>
                </c:pt>
                <c:pt idx="68">
                  <c:v>656.49983284465054</c:v>
                </c:pt>
                <c:pt idx="69">
                  <c:v>659.16002495559121</c:v>
                </c:pt>
                <c:pt idx="70">
                  <c:v>661.36985337152123</c:v>
                </c:pt>
                <c:pt idx="71">
                  <c:v>662.9051981483243</c:v>
                </c:pt>
                <c:pt idx="72">
                  <c:v>663.92464104187911</c:v>
                </c:pt>
                <c:pt idx="73">
                  <c:v>664.44570177331343</c:v>
                </c:pt>
                <c:pt idx="74">
                  <c:v>664.36789659514875</c:v>
                </c:pt>
                <c:pt idx="75">
                  <c:v>663.72964515360673</c:v>
                </c:pt>
                <c:pt idx="76">
                  <c:v>662.54617535675459</c:v>
                </c:pt>
                <c:pt idx="77">
                  <c:v>660.86911332428167</c:v>
                </c:pt>
                <c:pt idx="78">
                  <c:v>658.54120660394165</c:v>
                </c:pt>
                <c:pt idx="79">
                  <c:v>655.70521691915235</c:v>
                </c:pt>
                <c:pt idx="80">
                  <c:v>652.35819289228527</c:v>
                </c:pt>
                <c:pt idx="81">
                  <c:v>648.41504734139721</c:v>
                </c:pt>
                <c:pt idx="82">
                  <c:v>643.90349895230418</c:v>
                </c:pt>
                <c:pt idx="83">
                  <c:v>638.95551495497648</c:v>
                </c:pt>
                <c:pt idx="84">
                  <c:v>633.52372468868396</c:v>
                </c:pt>
                <c:pt idx="85">
                  <c:v>627.51538557310471</c:v>
                </c:pt>
                <c:pt idx="86">
                  <c:v>621.16552131046535</c:v>
                </c:pt>
                <c:pt idx="87">
                  <c:v>614.42076351170169</c:v>
                </c:pt>
                <c:pt idx="88">
                  <c:v>607.03281203944789</c:v>
                </c:pt>
                <c:pt idx="89">
                  <c:v>599.32748968931753</c:v>
                </c:pt>
                <c:pt idx="90">
                  <c:v>591.30841818908402</c:v>
                </c:pt>
                <c:pt idx="91">
                  <c:v>582.9161874761736</c:v>
                </c:pt>
                <c:pt idx="92">
                  <c:v>574.04116951435913</c:v>
                </c:pt>
                <c:pt idx="93">
                  <c:v>564.84223935040075</c:v>
                </c:pt>
                <c:pt idx="94">
                  <c:v>555.38719849110998</c:v>
                </c:pt>
                <c:pt idx="95">
                  <c:v>545.643445611255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33.22611823343539</c:v>
                </c:pt>
                <c:pt idx="43">
                  <c:v>448.79134528823863</c:v>
                </c:pt>
                <c:pt idx="44">
                  <c:v>464.7030494348835</c:v>
                </c:pt>
                <c:pt idx="45">
                  <c:v>480.44749011598083</c:v>
                </c:pt>
                <c:pt idx="46">
                  <c:v>495.5566946534916</c:v>
                </c:pt>
                <c:pt idx="47">
                  <c:v>510.25242378181201</c:v>
                </c:pt>
                <c:pt idx="48">
                  <c:v>524.99862838324759</c:v>
                </c:pt>
                <c:pt idx="49">
                  <c:v>540.00032341106476</c:v>
                </c:pt>
                <c:pt idx="50">
                  <c:v>555.19902337723056</c:v>
                </c:pt>
                <c:pt idx="51">
                  <c:v>571.13839958344306</c:v>
                </c:pt>
                <c:pt idx="52">
                  <c:v>587.08437668528995</c:v>
                </c:pt>
                <c:pt idx="53">
                  <c:v>601.77613968797539</c:v>
                </c:pt>
                <c:pt idx="54">
                  <c:v>615.97917088043857</c:v>
                </c:pt>
                <c:pt idx="55">
                  <c:v>630.1796866898485</c:v>
                </c:pt>
                <c:pt idx="56">
                  <c:v>644.52467555305157</c:v>
                </c:pt>
                <c:pt idx="57">
                  <c:v>659.02583008011266</c:v>
                </c:pt>
                <c:pt idx="58">
                  <c:v>673.62423173500247</c:v>
                </c:pt>
                <c:pt idx="59">
                  <c:v>688.19918386532993</c:v>
                </c:pt>
                <c:pt idx="60">
                  <c:v>702.34140027361445</c:v>
                </c:pt>
                <c:pt idx="61">
                  <c:v>716.09883733599895</c:v>
                </c:pt>
                <c:pt idx="62">
                  <c:v>729.51520996382646</c:v>
                </c:pt>
                <c:pt idx="63">
                  <c:v>742.6005132561512</c:v>
                </c:pt>
                <c:pt idx="64">
                  <c:v>755.25991588088834</c:v>
                </c:pt>
                <c:pt idx="65">
                  <c:v>767.55886563784475</c:v>
                </c:pt>
                <c:pt idx="66">
                  <c:v>779.38844570645369</c:v>
                </c:pt>
                <c:pt idx="67">
                  <c:v>790.73192303047131</c:v>
                </c:pt>
                <c:pt idx="68">
                  <c:v>801.41183598139537</c:v>
                </c:pt>
                <c:pt idx="69">
                  <c:v>811.4623175564243</c:v>
                </c:pt>
                <c:pt idx="70">
                  <c:v>820.91739425785829</c:v>
                </c:pt>
                <c:pt idx="71">
                  <c:v>829.52228078672749</c:v>
                </c:pt>
                <c:pt idx="72">
                  <c:v>837.40401430845122</c:v>
                </c:pt>
                <c:pt idx="73">
                  <c:v>844.55263282018814</c:v>
                </c:pt>
                <c:pt idx="74">
                  <c:v>850.84162460267396</c:v>
                </c:pt>
                <c:pt idx="75">
                  <c:v>856.2841049576457</c:v>
                </c:pt>
                <c:pt idx="76">
                  <c:v>860.87161100238086</c:v>
                </c:pt>
                <c:pt idx="77">
                  <c:v>864.63550727525683</c:v>
                </c:pt>
                <c:pt idx="78">
                  <c:v>867.39826268625075</c:v>
                </c:pt>
                <c:pt idx="79">
                  <c:v>869.28596554280443</c:v>
                </c:pt>
                <c:pt idx="80">
                  <c:v>870.28050774731628</c:v>
                </c:pt>
                <c:pt idx="81">
                  <c:v>870.28382477555033</c:v>
                </c:pt>
                <c:pt idx="82">
                  <c:v>869.3119674798636</c:v>
                </c:pt>
                <c:pt idx="83">
                  <c:v>867.48900490400092</c:v>
                </c:pt>
                <c:pt idx="84">
                  <c:v>864.76136041150585</c:v>
                </c:pt>
                <c:pt idx="85">
                  <c:v>861.03235943271284</c:v>
                </c:pt>
                <c:pt idx="86">
                  <c:v>856.5353394291601</c:v>
                </c:pt>
                <c:pt idx="87">
                  <c:v>851.21740068918507</c:v>
                </c:pt>
                <c:pt idx="88">
                  <c:v>844.83187060736873</c:v>
                </c:pt>
                <c:pt idx="89">
                  <c:v>837.7097209993035</c:v>
                </c:pt>
                <c:pt idx="90">
                  <c:v>829.86012276190695</c:v>
                </c:pt>
                <c:pt idx="91">
                  <c:v>821.23161972162688</c:v>
                </c:pt>
                <c:pt idx="92">
                  <c:v>811.71183389328712</c:v>
                </c:pt>
                <c:pt idx="93">
                  <c:v>801.47919474814012</c:v>
                </c:pt>
                <c:pt idx="94">
                  <c:v>790.61393237303423</c:v>
                </c:pt>
                <c:pt idx="95">
                  <c:v>779.097221143661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34.2410212742883</c:v>
                </c:pt>
                <c:pt idx="43">
                  <c:v>451.19306278829674</c:v>
                </c:pt>
                <c:pt idx="44">
                  <c:v>468.89518492116883</c:v>
                </c:pt>
                <c:pt idx="45">
                  <c:v>486.85093779098617</c:v>
                </c:pt>
                <c:pt idx="46">
                  <c:v>504.62042060624935</c:v>
                </c:pt>
                <c:pt idx="47">
                  <c:v>522.43240212748174</c:v>
                </c:pt>
                <c:pt idx="48">
                  <c:v>540.76554314216332</c:v>
                </c:pt>
                <c:pt idx="49">
                  <c:v>559.82393814945885</c:v>
                </c:pt>
                <c:pt idx="50">
                  <c:v>579.55630150205968</c:v>
                </c:pt>
                <c:pt idx="51">
                  <c:v>600.50184793433755</c:v>
                </c:pt>
                <c:pt idx="52">
                  <c:v>621.92728404435434</c:v>
                </c:pt>
                <c:pt idx="53">
                  <c:v>642.56370829101502</c:v>
                </c:pt>
                <c:pt idx="54">
                  <c:v>663.17039362900823</c:v>
                </c:pt>
                <c:pt idx="55">
                  <c:v>684.2170681792835</c:v>
                </c:pt>
                <c:pt idx="56">
                  <c:v>705.82392263268275</c:v>
                </c:pt>
                <c:pt idx="57">
                  <c:v>727.94837769908213</c:v>
                </c:pt>
                <c:pt idx="58">
                  <c:v>750.51466845652646</c:v>
                </c:pt>
                <c:pt idx="59">
                  <c:v>773.37413334661596</c:v>
                </c:pt>
                <c:pt idx="60">
                  <c:v>796.09654488001161</c:v>
                </c:pt>
                <c:pt idx="61">
                  <c:v>818.6883863303151</c:v>
                </c:pt>
                <c:pt idx="62">
                  <c:v>841.15977229694215</c:v>
                </c:pt>
                <c:pt idx="63">
                  <c:v>863.48002973584039</c:v>
                </c:pt>
                <c:pt idx="64">
                  <c:v>885.50483606930345</c:v>
                </c:pt>
                <c:pt idx="65">
                  <c:v>907.25391061107894</c:v>
                </c:pt>
                <c:pt idx="66">
                  <c:v>928.57748655375008</c:v>
                </c:pt>
                <c:pt idx="67">
                  <c:v>949.41177047734368</c:v>
                </c:pt>
                <c:pt idx="68">
                  <c:v>969.53445530457941</c:v>
                </c:pt>
                <c:pt idx="69">
                  <c:v>988.93240006615565</c:v>
                </c:pt>
                <c:pt idx="70">
                  <c:v>1007.590222850167</c:v>
                </c:pt>
                <c:pt idx="71">
                  <c:v>1025.2044150031352</c:v>
                </c:pt>
                <c:pt idx="72">
                  <c:v>1041.8519870606631</c:v>
                </c:pt>
                <c:pt idx="73">
                  <c:v>1057.4768259645166</c:v>
                </c:pt>
                <c:pt idx="74">
                  <c:v>1071.9077291725275</c:v>
                </c:pt>
                <c:pt idx="75">
                  <c:v>1085.1140978416652</c:v>
                </c:pt>
                <c:pt idx="76">
                  <c:v>1097.0458811306503</c:v>
                </c:pt>
                <c:pt idx="77">
                  <c:v>1107.6970541318365</c:v>
                </c:pt>
                <c:pt idx="78">
                  <c:v>1116.8536793132616</c:v>
                </c:pt>
                <c:pt idx="79">
                  <c:v>1124.6102722047033</c:v>
                </c:pt>
                <c:pt idx="80">
                  <c:v>1130.9200800027747</c:v>
                </c:pt>
                <c:pt idx="81">
                  <c:v>1135.6601592890659</c:v>
                </c:pt>
                <c:pt idx="82">
                  <c:v>1138.8247305885295</c:v>
                </c:pt>
                <c:pt idx="83">
                  <c:v>1140.5216749268191</c:v>
                </c:pt>
                <c:pt idx="84">
                  <c:v>1140.6848841328222</c:v>
                </c:pt>
                <c:pt idx="85">
                  <c:v>1139.2094526868477</c:v>
                </c:pt>
                <c:pt idx="86">
                  <c:v>1136.3247901381317</c:v>
                </c:pt>
                <c:pt idx="87">
                  <c:v>1131.9782763334006</c:v>
                </c:pt>
                <c:pt idx="88">
                  <c:v>1125.9266950777255</c:v>
                </c:pt>
                <c:pt idx="89">
                  <c:v>1118.509967740003</c:v>
                </c:pt>
                <c:pt idx="90">
                  <c:v>1109.7484954508141</c:v>
                </c:pt>
                <c:pt idx="91">
                  <c:v>1099.6062357588735</c:v>
                </c:pt>
                <c:pt idx="92">
                  <c:v>1087.977092272228</c:v>
                </c:pt>
                <c:pt idx="93">
                  <c:v>1075.0696114902055</c:v>
                </c:pt>
                <c:pt idx="94">
                  <c:v>1060.9883178267837</c:v>
                </c:pt>
                <c:pt idx="95">
                  <c:v>1045.74117627153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0</c:v>
                </c:pt>
                <c:pt idx="1">
                  <c:v>30</c:v>
                </c:pt>
                <c:pt idx="2">
                  <c:v>30</c:v>
                </c:pt>
                <c:pt idx="3">
                  <c:v>33</c:v>
                </c:pt>
                <c:pt idx="4">
                  <c:v>34</c:v>
                </c:pt>
                <c:pt idx="5">
                  <c:v>34</c:v>
                </c:pt>
                <c:pt idx="6">
                  <c:v>35</c:v>
                </c:pt>
                <c:pt idx="7">
                  <c:v>35</c:v>
                </c:pt>
                <c:pt idx="8">
                  <c:v>38</c:v>
                </c:pt>
                <c:pt idx="9">
                  <c:v>41</c:v>
                </c:pt>
                <c:pt idx="10">
                  <c:v>42</c:v>
                </c:pt>
                <c:pt idx="11">
                  <c:v>45</c:v>
                </c:pt>
                <c:pt idx="12">
                  <c:v>48</c:v>
                </c:pt>
                <c:pt idx="13">
                  <c:v>53</c:v>
                </c:pt>
                <c:pt idx="14">
                  <c:v>56</c:v>
                </c:pt>
                <c:pt idx="15">
                  <c:v>57</c:v>
                </c:pt>
                <c:pt idx="16">
                  <c:v>61</c:v>
                </c:pt>
                <c:pt idx="17">
                  <c:v>65</c:v>
                </c:pt>
                <c:pt idx="18">
                  <c:v>74</c:v>
                </c:pt>
                <c:pt idx="19">
                  <c:v>77</c:v>
                </c:pt>
                <c:pt idx="20">
                  <c:v>83</c:v>
                </c:pt>
                <c:pt idx="21">
                  <c:v>87</c:v>
                </c:pt>
                <c:pt idx="22">
                  <c:v>90</c:v>
                </c:pt>
                <c:pt idx="23">
                  <c:v>95</c:v>
                </c:pt>
                <c:pt idx="24">
                  <c:v>102</c:v>
                </c:pt>
                <c:pt idx="25">
                  <c:v>113</c:v>
                </c:pt>
                <c:pt idx="26">
                  <c:v>120</c:v>
                </c:pt>
                <c:pt idx="27">
                  <c:v>128</c:v>
                </c:pt>
                <c:pt idx="28">
                  <c:v>144</c:v>
                </c:pt>
                <c:pt idx="29">
                  <c:v>154</c:v>
                </c:pt>
                <c:pt idx="30">
                  <c:v>168</c:v>
                </c:pt>
                <c:pt idx="31">
                  <c:v>193</c:v>
                </c:pt>
                <c:pt idx="32">
                  <c:v>211</c:v>
                </c:pt>
                <c:pt idx="33">
                  <c:v>226</c:v>
                </c:pt>
                <c:pt idx="34">
                  <c:v>250</c:v>
                </c:pt>
                <c:pt idx="35">
                  <c:v>273</c:v>
                </c:pt>
                <c:pt idx="36">
                  <c:v>287</c:v>
                </c:pt>
                <c:pt idx="37">
                  <c:v>299</c:v>
                </c:pt>
                <c:pt idx="38">
                  <c:v>327</c:v>
                </c:pt>
                <c:pt idx="39">
                  <c:v>354</c:v>
                </c:pt>
                <c:pt idx="40">
                  <c:v>375</c:v>
                </c:pt>
                <c:pt idx="41">
                  <c:v>394</c:v>
                </c:pt>
                <c:pt idx="42">
                  <c:v>422</c:v>
                </c:pt>
                <c:pt idx="43">
                  <c:v>438</c:v>
                </c:pt>
                <c:pt idx="44">
                  <c:v>460</c:v>
                </c:pt>
                <c:pt idx="45">
                  <c:v>501</c:v>
                </c:pt>
                <c:pt idx="46">
                  <c:v>534</c:v>
                </c:pt>
                <c:pt idx="47">
                  <c:v>566</c:v>
                </c:pt>
                <c:pt idx="48">
                  <c:v>594</c:v>
                </c:pt>
                <c:pt idx="49">
                  <c:v>617</c:v>
                </c:pt>
                <c:pt idx="50">
                  <c:v>6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11.74680868987349</c:v>
                </c:pt>
                <c:pt idx="43">
                  <c:v>433.94795145891737</c:v>
                </c:pt>
                <c:pt idx="44">
                  <c:v>456.61589987995751</c:v>
                </c:pt>
                <c:pt idx="45">
                  <c:v>479.84690347984576</c:v>
                </c:pt>
                <c:pt idx="46">
                  <c:v>503.66732797593818</c:v>
                </c:pt>
                <c:pt idx="47">
                  <c:v>527.94804738003484</c:v>
                </c:pt>
                <c:pt idx="48">
                  <c:v>552.68720373605925</c:v>
                </c:pt>
                <c:pt idx="49">
                  <c:v>577.78970731818617</c:v>
                </c:pt>
                <c:pt idx="50">
                  <c:v>603.21090061373229</c:v>
                </c:pt>
                <c:pt idx="51">
                  <c:v>629.00451602745045</c:v>
                </c:pt>
                <c:pt idx="52">
                  <c:v>655.08786757041867</c:v>
                </c:pt>
                <c:pt idx="53">
                  <c:v>681.44970458520049</c:v>
                </c:pt>
                <c:pt idx="54">
                  <c:v>708.15757030565408</c:v>
                </c:pt>
                <c:pt idx="55">
                  <c:v>735.11459473499281</c:v>
                </c:pt>
                <c:pt idx="56">
                  <c:v>762.28819008115534</c:v>
                </c:pt>
                <c:pt idx="57">
                  <c:v>789.70236736138099</c:v>
                </c:pt>
                <c:pt idx="58">
                  <c:v>817.31347655602463</c:v>
                </c:pt>
                <c:pt idx="59">
                  <c:v>845.08368393170997</c:v>
                </c:pt>
                <c:pt idx="60">
                  <c:v>873.01735640865684</c:v>
                </c:pt>
                <c:pt idx="61">
                  <c:v>901.10589988931963</c:v>
                </c:pt>
                <c:pt idx="62">
                  <c:v>929.30333371328334</c:v>
                </c:pt>
                <c:pt idx="63">
                  <c:v>957.57996656955152</c:v>
                </c:pt>
                <c:pt idx="64">
                  <c:v>985.93545664057478</c:v>
                </c:pt>
                <c:pt idx="65">
                  <c:v>1014.3163491780324</c:v>
                </c:pt>
                <c:pt idx="66">
                  <c:v>1042.7057981473667</c:v>
                </c:pt>
                <c:pt idx="67">
                  <c:v>1071.1150130687518</c:v>
                </c:pt>
                <c:pt idx="68">
                  <c:v>1099.4847951442569</c:v>
                </c:pt>
                <c:pt idx="69">
                  <c:v>1127.800914700965</c:v>
                </c:pt>
                <c:pt idx="70">
                  <c:v>1156.0393074340375</c:v>
                </c:pt>
                <c:pt idx="71">
                  <c:v>1184.1760191352364</c:v>
                </c:pt>
                <c:pt idx="72">
                  <c:v>1212.1877648152597</c:v>
                </c:pt>
                <c:pt idx="73">
                  <c:v>1240.0519233172772</c:v>
                </c:pt>
                <c:pt idx="74">
                  <c:v>1267.7463550353509</c:v>
                </c:pt>
                <c:pt idx="75">
                  <c:v>1295.2494131526337</c:v>
                </c:pt>
                <c:pt idx="76">
                  <c:v>1322.540016354591</c:v>
                </c:pt>
                <c:pt idx="77">
                  <c:v>1349.5977138040305</c:v>
                </c:pt>
                <c:pt idx="78">
                  <c:v>1376.4027945122525</c:v>
                </c:pt>
                <c:pt idx="79">
                  <c:v>1402.9363527780749</c:v>
                </c:pt>
                <c:pt idx="80">
                  <c:v>1429.1803181091586</c:v>
                </c:pt>
                <c:pt idx="81">
                  <c:v>1455.1174844655241</c:v>
                </c:pt>
                <c:pt idx="82">
                  <c:v>1480.7315301389124</c:v>
                </c:pt>
                <c:pt idx="83">
                  <c:v>1506.0070307299682</c:v>
                </c:pt>
                <c:pt idx="84">
                  <c:v>1530.9294852566834</c:v>
                </c:pt>
                <c:pt idx="85">
                  <c:v>1555.4853371264574</c:v>
                </c:pt>
                <c:pt idx="86">
                  <c:v>1579.6619830525599</c:v>
                </c:pt>
                <c:pt idx="87">
                  <c:v>1603.4477836272947</c:v>
                </c:pt>
                <c:pt idx="88">
                  <c:v>1626.8320722770563</c:v>
                </c:pt>
                <c:pt idx="89">
                  <c:v>1649.8051514871081</c:v>
                </c:pt>
                <c:pt idx="90">
                  <c:v>1672.3582831194819</c:v>
                </c:pt>
                <c:pt idx="91">
                  <c:v>1694.4836866116609</c:v>
                </c:pt>
                <c:pt idx="92">
                  <c:v>1716.1745279935626</c:v>
                </c:pt>
                <c:pt idx="93">
                  <c:v>1737.4249024537403</c:v>
                </c:pt>
                <c:pt idx="94">
                  <c:v>1758.2298200867699</c:v>
                </c:pt>
                <c:pt idx="95">
                  <c:v>1778.5851866321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12.19521168277299</c:v>
                </c:pt>
                <c:pt idx="43">
                  <c:v>435.02430122300899</c:v>
                </c:pt>
                <c:pt idx="44">
                  <c:v>458.5209061904078</c:v>
                </c:pt>
                <c:pt idx="45">
                  <c:v>482.80167225980159</c:v>
                </c:pt>
                <c:pt idx="46">
                  <c:v>507.91265156271567</c:v>
                </c:pt>
                <c:pt idx="47">
                  <c:v>533.74331630366225</c:v>
                </c:pt>
                <c:pt idx="48">
                  <c:v>560.30787691160049</c:v>
                </c:pt>
                <c:pt idx="49">
                  <c:v>587.5255158035875</c:v>
                </c:pt>
                <c:pt idx="50">
                  <c:v>615.36385492077147</c:v>
                </c:pt>
                <c:pt idx="51">
                  <c:v>643.88720538558175</c:v>
                </c:pt>
                <c:pt idx="52">
                  <c:v>673.02232862923233</c:v>
                </c:pt>
                <c:pt idx="53">
                  <c:v>702.7657018132777</c:v>
                </c:pt>
                <c:pt idx="54">
                  <c:v>733.19111490417095</c:v>
                </c:pt>
                <c:pt idx="55">
                  <c:v>764.20651184969097</c:v>
                </c:pt>
                <c:pt idx="56">
                  <c:v>795.78258707735199</c:v>
                </c:pt>
                <c:pt idx="57">
                  <c:v>827.94505929645015</c:v>
                </c:pt>
                <c:pt idx="58">
                  <c:v>860.6506805072728</c:v>
                </c:pt>
                <c:pt idx="59">
                  <c:v>893.86065832502322</c:v>
                </c:pt>
                <c:pt idx="60">
                  <c:v>927.57676754238548</c:v>
                </c:pt>
                <c:pt idx="61">
                  <c:v>961.78623486199058</c:v>
                </c:pt>
                <c:pt idx="62">
                  <c:v>996.43749084874798</c:v>
                </c:pt>
                <c:pt idx="63">
                  <c:v>1031.4936704379249</c:v>
                </c:pt>
                <c:pt idx="64">
                  <c:v>1066.9457313336243</c:v>
                </c:pt>
                <c:pt idx="65">
                  <c:v>1102.7306182740792</c:v>
                </c:pt>
                <c:pt idx="66">
                  <c:v>1138.8208102873393</c:v>
                </c:pt>
                <c:pt idx="67">
                  <c:v>1175.2153514263448</c:v>
                </c:pt>
                <c:pt idx="68">
                  <c:v>1211.8416834913132</c:v>
                </c:pt>
                <c:pt idx="69">
                  <c:v>1248.6709514363397</c:v>
                </c:pt>
                <c:pt idx="70">
                  <c:v>1285.6633833004821</c:v>
                </c:pt>
                <c:pt idx="71">
                  <c:v>1322.7783421891386</c:v>
                </c:pt>
                <c:pt idx="72">
                  <c:v>1359.9751829914478</c:v>
                </c:pt>
                <c:pt idx="73">
                  <c:v>1397.2133210079774</c:v>
                </c:pt>
                <c:pt idx="74">
                  <c:v>1434.4520566305555</c:v>
                </c:pt>
                <c:pt idx="75">
                  <c:v>1471.6506769519478</c:v>
                </c:pt>
                <c:pt idx="76">
                  <c:v>1508.7686454439847</c:v>
                </c:pt>
                <c:pt idx="77">
                  <c:v>1545.7657810499115</c:v>
                </c:pt>
                <c:pt idx="78">
                  <c:v>1582.60250227049</c:v>
                </c:pt>
                <c:pt idx="79">
                  <c:v>1619.240009921052</c:v>
                </c:pt>
                <c:pt idx="80">
                  <c:v>1655.6404193162707</c:v>
                </c:pt>
                <c:pt idx="81">
                  <c:v>1691.7668895152631</c:v>
                </c:pt>
                <c:pt idx="82">
                  <c:v>1727.5837381126694</c:v>
                </c:pt>
                <c:pt idx="83">
                  <c:v>1763.0565438762455</c:v>
                </c:pt>
                <c:pt idx="84">
                  <c:v>1798.1522626454525</c:v>
                </c:pt>
                <c:pt idx="85">
                  <c:v>1832.8393320086527</c:v>
                </c:pt>
                <c:pt idx="86">
                  <c:v>1867.0877546423624</c:v>
                </c:pt>
                <c:pt idx="87">
                  <c:v>1900.8691780216393</c:v>
                </c:pt>
                <c:pt idx="88">
                  <c:v>1934.1569663269768</c:v>
                </c:pt>
                <c:pt idx="89">
                  <c:v>1966.9262488896632</c:v>
                </c:pt>
                <c:pt idx="90">
                  <c:v>1999.1539539231912</c:v>
                </c:pt>
                <c:pt idx="91">
                  <c:v>2030.8188468422229</c:v>
                </c:pt>
                <c:pt idx="92">
                  <c:v>2061.9015494890391</c:v>
                </c:pt>
                <c:pt idx="93">
                  <c:v>2092.3845441852754</c:v>
                </c:pt>
                <c:pt idx="94">
                  <c:v>2122.2521759176261</c:v>
                </c:pt>
                <c:pt idx="95">
                  <c:v>2151.49064186980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12.6464699954135</c:v>
                </c:pt>
                <c:pt idx="43">
                  <c:v>436.11096138786661</c:v>
                </c:pt>
                <c:pt idx="44">
                  <c:v>460.4513439284425</c:v>
                </c:pt>
                <c:pt idx="45">
                  <c:v>485.80832761318345</c:v>
                </c:pt>
                <c:pt idx="46">
                  <c:v>512.25185214389762</c:v>
                </c:pt>
                <c:pt idx="47">
                  <c:v>539.69466935003925</c:v>
                </c:pt>
                <c:pt idx="48">
                  <c:v>568.17216910771242</c:v>
                </c:pt>
                <c:pt idx="49">
                  <c:v>597.62328554394492</c:v>
                </c:pt>
                <c:pt idx="50">
                  <c:v>628.03367926939563</c:v>
                </c:pt>
                <c:pt idx="51">
                  <c:v>659.4842052367228</c:v>
                </c:pt>
                <c:pt idx="52">
                  <c:v>691.91714954313306</c:v>
                </c:pt>
                <c:pt idx="53">
                  <c:v>725.34278815168454</c:v>
                </c:pt>
                <c:pt idx="54">
                  <c:v>759.84712988087904</c:v>
                </c:pt>
                <c:pt idx="55">
                  <c:v>795.34870068383952</c:v>
                </c:pt>
                <c:pt idx="56">
                  <c:v>831.82697637731007</c:v>
                </c:pt>
                <c:pt idx="57">
                  <c:v>869.31448593839571</c:v>
                </c:pt>
                <c:pt idx="58">
                  <c:v>907.77303351467242</c:v>
                </c:pt>
                <c:pt idx="59">
                  <c:v>947.16697614657392</c:v>
                </c:pt>
                <c:pt idx="60">
                  <c:v>987.49891631243372</c:v>
                </c:pt>
                <c:pt idx="61">
                  <c:v>1028.7545581015866</c:v>
                </c:pt>
                <c:pt idx="62">
                  <c:v>1070.8785531480007</c:v>
                </c:pt>
                <c:pt idx="63">
                  <c:v>1113.8277837319115</c:v>
                </c:pt>
                <c:pt idx="64">
                  <c:v>1157.5844829521352</c:v>
                </c:pt>
                <c:pt idx="65">
                  <c:v>1202.0750799837097</c:v>
                </c:pt>
                <c:pt idx="66">
                  <c:v>1247.2595466040962</c:v>
                </c:pt>
                <c:pt idx="67">
                  <c:v>1293.1218841160521</c:v>
                </c:pt>
                <c:pt idx="68">
                  <c:v>1339.5722791051917</c:v>
                </c:pt>
                <c:pt idx="69">
                  <c:v>1386.5623556718683</c:v>
                </c:pt>
                <c:pt idx="70">
                  <c:v>1434.0307863044502</c:v>
                </c:pt>
                <c:pt idx="71">
                  <c:v>1481.9134979208604</c:v>
                </c:pt>
                <c:pt idx="72">
                  <c:v>1530.1449304189639</c:v>
                </c:pt>
                <c:pt idx="73">
                  <c:v>1578.6582441659048</c:v>
                </c:pt>
                <c:pt idx="74">
                  <c:v>1627.3852124105813</c:v>
                </c:pt>
                <c:pt idx="75">
                  <c:v>1676.2565028100732</c:v>
                </c:pt>
                <c:pt idx="76">
                  <c:v>1725.2020874724881</c:v>
                </c:pt>
                <c:pt idx="77">
                  <c:v>1774.1516446968558</c:v>
                </c:pt>
                <c:pt idx="78">
                  <c:v>1823.0350555890907</c:v>
                </c:pt>
                <c:pt idx="79">
                  <c:v>1871.7828203920628</c:v>
                </c:pt>
                <c:pt idx="80">
                  <c:v>1920.3264072282461</c:v>
                </c:pt>
                <c:pt idx="81">
                  <c:v>1968.5985945806985</c:v>
                </c:pt>
                <c:pt idx="82">
                  <c:v>2016.5337909020507</c:v>
                </c:pt>
                <c:pt idx="83">
                  <c:v>2064.0683319606032</c:v>
                </c:pt>
                <c:pt idx="84">
                  <c:v>2111.14078643619</c:v>
                </c:pt>
                <c:pt idx="85">
                  <c:v>2157.6922365155924</c:v>
                </c:pt>
                <c:pt idx="86">
                  <c:v>2203.666518476477</c:v>
                </c:pt>
                <c:pt idx="87">
                  <c:v>2249.0104448906159</c:v>
                </c:pt>
                <c:pt idx="88">
                  <c:v>2293.6740026317862</c:v>
                </c:pt>
                <c:pt idx="89">
                  <c:v>2337.6105049808684</c:v>
                </c:pt>
                <c:pt idx="90">
                  <c:v>2380.7767086648882</c:v>
                </c:pt>
                <c:pt idx="91">
                  <c:v>2423.1329219042232</c:v>
                </c:pt>
                <c:pt idx="92">
                  <c:v>2464.6430717986477</c:v>
                </c:pt>
                <c:pt idx="93">
                  <c:v>2505.2747367754891</c:v>
                </c:pt>
                <c:pt idx="94">
                  <c:v>2544.9991623769479</c:v>
                </c:pt>
                <c:pt idx="95">
                  <c:v>2583.79124700172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9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  <c:pt idx="5">
                  <c:v>21</c:v>
                </c:pt>
                <c:pt idx="6">
                  <c:v>21</c:v>
                </c:pt>
                <c:pt idx="7">
                  <c:v>21</c:v>
                </c:pt>
                <c:pt idx="8">
                  <c:v>21</c:v>
                </c:pt>
                <c:pt idx="9">
                  <c:v>21</c:v>
                </c:pt>
                <c:pt idx="10">
                  <c:v>21</c:v>
                </c:pt>
                <c:pt idx="11">
                  <c:v>23</c:v>
                </c:pt>
                <c:pt idx="12">
                  <c:v>25</c:v>
                </c:pt>
                <c:pt idx="13">
                  <c:v>27</c:v>
                </c:pt>
                <c:pt idx="14">
                  <c:v>29</c:v>
                </c:pt>
                <c:pt idx="15">
                  <c:v>30</c:v>
                </c:pt>
                <c:pt idx="16">
                  <c:v>30</c:v>
                </c:pt>
                <c:pt idx="17">
                  <c:v>33</c:v>
                </c:pt>
                <c:pt idx="18">
                  <c:v>35</c:v>
                </c:pt>
                <c:pt idx="19">
                  <c:v>36</c:v>
                </c:pt>
                <c:pt idx="20">
                  <c:v>38</c:v>
                </c:pt>
                <c:pt idx="21">
                  <c:v>38</c:v>
                </c:pt>
                <c:pt idx="22">
                  <c:v>40</c:v>
                </c:pt>
                <c:pt idx="23">
                  <c:v>41</c:v>
                </c:pt>
                <c:pt idx="24">
                  <c:v>43</c:v>
                </c:pt>
                <c:pt idx="25">
                  <c:v>43</c:v>
                </c:pt>
                <c:pt idx="26">
                  <c:v>43</c:v>
                </c:pt>
                <c:pt idx="27">
                  <c:v>46</c:v>
                </c:pt>
                <c:pt idx="28">
                  <c:v>46</c:v>
                </c:pt>
                <c:pt idx="29">
                  <c:v>48</c:v>
                </c:pt>
                <c:pt idx="30">
                  <c:v>50</c:v>
                </c:pt>
                <c:pt idx="31">
                  <c:v>50</c:v>
                </c:pt>
                <c:pt idx="32">
                  <c:v>55</c:v>
                </c:pt>
                <c:pt idx="33">
                  <c:v>59</c:v>
                </c:pt>
                <c:pt idx="34">
                  <c:v>61</c:v>
                </c:pt>
                <c:pt idx="35">
                  <c:v>64</c:v>
                </c:pt>
                <c:pt idx="36">
                  <c:v>70</c:v>
                </c:pt>
                <c:pt idx="37">
                  <c:v>70</c:v>
                </c:pt>
                <c:pt idx="38">
                  <c:v>76</c:v>
                </c:pt>
                <c:pt idx="39">
                  <c:v>81</c:v>
                </c:pt>
                <c:pt idx="40">
                  <c:v>93</c:v>
                </c:pt>
                <c:pt idx="41">
                  <c:v>102</c:v>
                </c:pt>
                <c:pt idx="42">
                  <c:v>108</c:v>
                </c:pt>
                <c:pt idx="43">
                  <c:v>110</c:v>
                </c:pt>
                <c:pt idx="44">
                  <c:v>112</c:v>
                </c:pt>
                <c:pt idx="45">
                  <c:v>121</c:v>
                </c:pt>
                <c:pt idx="46">
                  <c:v>131</c:v>
                </c:pt>
                <c:pt idx="47">
                  <c:v>134</c:v>
                </c:pt>
                <c:pt idx="48">
                  <c:v>142</c:v>
                </c:pt>
                <c:pt idx="49">
                  <c:v>148</c:v>
                </c:pt>
                <c:pt idx="50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05.02984856371401</c:v>
                </c:pt>
                <c:pt idx="43">
                  <c:v>109.14306009513233</c:v>
                </c:pt>
                <c:pt idx="44">
                  <c:v>113.34125127890668</c:v>
                </c:pt>
                <c:pt idx="45">
                  <c:v>117.64220971678725</c:v>
                </c:pt>
                <c:pt idx="46">
                  <c:v>122.05079914296287</c:v>
                </c:pt>
                <c:pt idx="47">
                  <c:v>126.54383385730674</c:v>
                </c:pt>
                <c:pt idx="48">
                  <c:v>131.12138142029136</c:v>
                </c:pt>
                <c:pt idx="49">
                  <c:v>135.76651811826093</c:v>
                </c:pt>
                <c:pt idx="50">
                  <c:v>140.47041531163327</c:v>
                </c:pt>
                <c:pt idx="51">
                  <c:v>145.24299200086426</c:v>
                </c:pt>
                <c:pt idx="52">
                  <c:v>150.06952838754762</c:v>
                </c:pt>
                <c:pt idx="53">
                  <c:v>154.9476829769232</c:v>
                </c:pt>
                <c:pt idx="54">
                  <c:v>159.89021502576935</c:v>
                </c:pt>
                <c:pt idx="55">
                  <c:v>164.8791582214468</c:v>
                </c:pt>
                <c:pt idx="56">
                  <c:v>169.90851863398476</c:v>
                </c:pt>
                <c:pt idx="57">
                  <c:v>174.9827086296452</c:v>
                </c:pt>
                <c:pt idx="58">
                  <c:v>180.09355315145268</c:v>
                </c:pt>
                <c:pt idx="59">
                  <c:v>185.23435271112027</c:v>
                </c:pt>
                <c:pt idx="60">
                  <c:v>190.40613319382445</c:v>
                </c:pt>
                <c:pt idx="61">
                  <c:v>195.60673159714707</c:v>
                </c:pt>
                <c:pt idx="62">
                  <c:v>200.82797286306851</c:v>
                </c:pt>
                <c:pt idx="63">
                  <c:v>206.06434381920047</c:v>
                </c:pt>
                <c:pt idx="64">
                  <c:v>211.31554985819798</c:v>
                </c:pt>
                <c:pt idx="65">
                  <c:v>216.57167683543855</c:v>
                </c:pt>
                <c:pt idx="66">
                  <c:v>221.82971163666627</c:v>
                </c:pt>
                <c:pt idx="67">
                  <c:v>227.0920414549575</c:v>
                </c:pt>
                <c:pt idx="68">
                  <c:v>232.34738475388886</c:v>
                </c:pt>
                <c:pt idx="69">
                  <c:v>237.59319094907127</c:v>
                </c:pt>
                <c:pt idx="70">
                  <c:v>242.82499883452917</c:v>
                </c:pt>
                <c:pt idx="71">
                  <c:v>248.03836791335999</c:v>
                </c:pt>
                <c:pt idx="72">
                  <c:v>253.22898090412519</c:v>
                </c:pt>
                <c:pt idx="73">
                  <c:v>258.39264240836746</c:v>
                </c:pt>
                <c:pt idx="74">
                  <c:v>263.5252449009505</c:v>
                </c:pt>
                <c:pt idx="75">
                  <c:v>268.6227709481376</c:v>
                </c:pt>
                <c:pt idx="76">
                  <c:v>273.68130669481178</c:v>
                </c:pt>
                <c:pt idx="77">
                  <c:v>278.69705393877075</c:v>
                </c:pt>
                <c:pt idx="78">
                  <c:v>283.66635071546443</c:v>
                </c:pt>
                <c:pt idx="79">
                  <c:v>288.58568339986425</c:v>
                </c:pt>
                <c:pt idx="80">
                  <c:v>293.45169229082529</c:v>
                </c:pt>
                <c:pt idx="81">
                  <c:v>298.26117705271423</c:v>
                </c:pt>
                <c:pt idx="82">
                  <c:v>303.0111005072622</c:v>
                </c:pt>
                <c:pt idx="83">
                  <c:v>307.69859115607107</c:v>
                </c:pt>
                <c:pt idx="84">
                  <c:v>312.32094802784832</c:v>
                </c:pt>
                <c:pt idx="85">
                  <c:v>316.8756446540541</c:v>
                </c:pt>
                <c:pt idx="86">
                  <c:v>321.36033085511923</c:v>
                </c:pt>
                <c:pt idx="87">
                  <c:v>325.77283477061155</c:v>
                </c:pt>
                <c:pt idx="88">
                  <c:v>330.11116453657274</c:v>
                </c:pt>
                <c:pt idx="89">
                  <c:v>334.37350765031601</c:v>
                </c:pt>
                <c:pt idx="90">
                  <c:v>338.55822931156604</c:v>
                </c:pt>
                <c:pt idx="91">
                  <c:v>342.66387207898833</c:v>
                </c:pt>
                <c:pt idx="92">
                  <c:v>346.68915392598103</c:v>
                </c:pt>
                <c:pt idx="93">
                  <c:v>350.6329651152484</c:v>
                </c:pt>
                <c:pt idx="94">
                  <c:v>354.49436562795495</c:v>
                </c:pt>
                <c:pt idx="95">
                  <c:v>358.272581616611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05.11237668521535</c:v>
                </c:pt>
                <c:pt idx="43">
                  <c:v>109.34115931227736</c:v>
                </c:pt>
                <c:pt idx="44">
                  <c:v>113.69186702795761</c:v>
                </c:pt>
                <c:pt idx="45">
                  <c:v>118.18604876662651</c:v>
                </c:pt>
                <c:pt idx="46">
                  <c:v>122.83220004408913</c:v>
                </c:pt>
                <c:pt idx="47">
                  <c:v>127.61057136202986</c:v>
                </c:pt>
                <c:pt idx="48">
                  <c:v>132.52421312496213</c:v>
                </c:pt>
                <c:pt idx="49">
                  <c:v>137.55885865197021</c:v>
                </c:pt>
                <c:pt idx="50">
                  <c:v>142.70797561286497</c:v>
                </c:pt>
                <c:pt idx="51">
                  <c:v>147.98346740725069</c:v>
                </c:pt>
                <c:pt idx="52">
                  <c:v>153.37238795200662</c:v>
                </c:pt>
                <c:pt idx="53">
                  <c:v>158.87385565385705</c:v>
                </c:pt>
                <c:pt idx="54">
                  <c:v>164.50181402377149</c:v>
                </c:pt>
                <c:pt idx="55">
                  <c:v>170.23921764812633</c:v>
                </c:pt>
                <c:pt idx="56">
                  <c:v>176.08071060432681</c:v>
                </c:pt>
                <c:pt idx="57">
                  <c:v>182.03105103155565</c:v>
                </c:pt>
                <c:pt idx="58">
                  <c:v>188.08216653996334</c:v>
                </c:pt>
                <c:pt idx="59">
                  <c:v>194.22720794073206</c:v>
                </c:pt>
                <c:pt idx="60">
                  <c:v>200.46674843886839</c:v>
                </c:pt>
                <c:pt idx="61">
                  <c:v>206.79787761414622</c:v>
                </c:pt>
                <c:pt idx="62">
                  <c:v>213.21140858323056</c:v>
                </c:pt>
                <c:pt idx="63">
                  <c:v>219.70052330026164</c:v>
                </c:pt>
                <c:pt idx="64">
                  <c:v>226.26334001994331</c:v>
                </c:pt>
                <c:pt idx="65">
                  <c:v>232.88818810335991</c:v>
                </c:pt>
                <c:pt idx="66">
                  <c:v>239.57009850675581</c:v>
                </c:pt>
                <c:pt idx="67">
                  <c:v>246.30922530106511</c:v>
                </c:pt>
                <c:pt idx="68">
                  <c:v>253.09183207809733</c:v>
                </c:pt>
                <c:pt idx="69">
                  <c:v>259.91267683310286</c:v>
                </c:pt>
                <c:pt idx="70">
                  <c:v>266.7644048006245</c:v>
                </c:pt>
                <c:pt idx="71">
                  <c:v>273.63950029005019</c:v>
                </c:pt>
                <c:pt idx="72">
                  <c:v>280.53044375792149</c:v>
                </c:pt>
                <c:pt idx="73">
                  <c:v>287.4297239906212</c:v>
                </c:pt>
                <c:pt idx="74">
                  <c:v>294.32980525457532</c:v>
                </c:pt>
                <c:pt idx="75">
                  <c:v>301.22314625543072</c:v>
                </c:pt>
                <c:pt idx="76">
                  <c:v>308.10223525033405</c:v>
                </c:pt>
                <c:pt idx="77">
                  <c:v>314.95962324627476</c:v>
                </c:pt>
                <c:pt idx="78">
                  <c:v>321.78796966284688</c:v>
                </c:pt>
                <c:pt idx="79">
                  <c:v>328.5800761431978</c:v>
                </c:pt>
                <c:pt idx="80">
                  <c:v>335.32891109805064</c:v>
                </c:pt>
                <c:pt idx="81">
                  <c:v>342.0276337110916</c:v>
                </c:pt>
                <c:pt idx="82">
                  <c:v>348.6696153960155</c:v>
                </c:pt>
                <c:pt idx="83">
                  <c:v>355.24845901744123</c:v>
                </c:pt>
                <c:pt idx="84">
                  <c:v>361.75802044124998</c:v>
                </c:pt>
                <c:pt idx="85">
                  <c:v>368.19242811729566</c:v>
                </c:pt>
                <c:pt idx="86">
                  <c:v>374.54609878543062</c:v>
                </c:pt>
                <c:pt idx="87">
                  <c:v>380.81375242836361</c:v>
                </c:pt>
                <c:pt idx="88">
                  <c:v>386.99042571515935</c:v>
                </c:pt>
                <c:pt idx="89">
                  <c:v>393.07148116815495</c:v>
                </c:pt>
                <c:pt idx="90">
                  <c:v>399.0526137016256</c:v>
                </c:pt>
                <c:pt idx="91">
                  <c:v>404.92985781422374</c:v>
                </c:pt>
                <c:pt idx="92">
                  <c:v>410.69959138293359</c:v>
                </c:pt>
                <c:pt idx="93">
                  <c:v>416.35853666554908</c:v>
                </c:pt>
                <c:pt idx="94">
                  <c:v>421.90376090790636</c:v>
                </c:pt>
                <c:pt idx="95">
                  <c:v>427.332674538056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05.1954312993013</c:v>
                </c:pt>
                <c:pt idx="43">
                  <c:v>109.5411585974679</c:v>
                </c:pt>
                <c:pt idx="44">
                  <c:v>114.04716793940197</c:v>
                </c:pt>
                <c:pt idx="45">
                  <c:v>118.73944508510631</c:v>
                </c:pt>
                <c:pt idx="46">
                  <c:v>123.63089136663123</c:v>
                </c:pt>
                <c:pt idx="47">
                  <c:v>128.70605648337013</c:v>
                </c:pt>
                <c:pt idx="48">
                  <c:v>133.97191639691312</c:v>
                </c:pt>
                <c:pt idx="49">
                  <c:v>139.41787274211435</c:v>
                </c:pt>
                <c:pt idx="50">
                  <c:v>145.04075324007263</c:v>
                </c:pt>
                <c:pt idx="51">
                  <c:v>150.85554843843605</c:v>
                </c:pt>
                <c:pt idx="52">
                  <c:v>156.85221058218156</c:v>
                </c:pt>
                <c:pt idx="53">
                  <c:v>163.03244273520946</c:v>
                </c:pt>
                <c:pt idx="54">
                  <c:v>169.4124804823706</c:v>
                </c:pt>
                <c:pt idx="55">
                  <c:v>175.9772708331235</c:v>
                </c:pt>
                <c:pt idx="56">
                  <c:v>182.72311898879258</c:v>
                </c:pt>
                <c:pt idx="57">
                  <c:v>189.65608010026537</c:v>
                </c:pt>
                <c:pt idx="58">
                  <c:v>196.76905328389918</c:v>
                </c:pt>
                <c:pt idx="59">
                  <c:v>204.05580940880895</c:v>
                </c:pt>
                <c:pt idx="60">
                  <c:v>211.51711258211446</c:v>
                </c:pt>
                <c:pt idx="61">
                  <c:v>219.14980834026346</c:v>
                </c:pt>
                <c:pt idx="62">
                  <c:v>226.94404556991802</c:v>
                </c:pt>
                <c:pt idx="63">
                  <c:v>234.8918852374276</c:v>
                </c:pt>
                <c:pt idx="64">
                  <c:v>242.98986812525939</c:v>
                </c:pt>
                <c:pt idx="65">
                  <c:v>251.22441221086927</c:v>
                </c:pt>
                <c:pt idx="66">
                  <c:v>259.58826790021391</c:v>
                </c:pt>
                <c:pt idx="67">
                  <c:v>268.07883788607921</c:v>
                </c:pt>
                <c:pt idx="68">
                  <c:v>276.67922364304809</c:v>
                </c:pt>
                <c:pt idx="69">
                  <c:v>285.38059883810126</c:v>
                </c:pt>
                <c:pt idx="70">
                  <c:v>294.17164516686751</c:v>
                </c:pt>
                <c:pt idx="71">
                  <c:v>303.04053328470502</c:v>
                </c:pt>
                <c:pt idx="72">
                  <c:v>311.97515343961891</c:v>
                </c:pt>
                <c:pt idx="73">
                  <c:v>320.9631529505582</c:v>
                </c:pt>
                <c:pt idx="74">
                  <c:v>329.99191556848325</c:v>
                </c:pt>
                <c:pt idx="75">
                  <c:v>339.04861361634397</c:v>
                </c:pt>
                <c:pt idx="76">
                  <c:v>348.12028374750361</c:v>
                </c:pt>
                <c:pt idx="77">
                  <c:v>357.19390127145334</c:v>
                </c:pt>
                <c:pt idx="78">
                  <c:v>366.25647267123236</c:v>
                </c:pt>
                <c:pt idx="79">
                  <c:v>375.29511261131074</c:v>
                </c:pt>
                <c:pt idx="80">
                  <c:v>384.29710859781181</c:v>
                </c:pt>
                <c:pt idx="81">
                  <c:v>393.24998454136511</c:v>
                </c:pt>
                <c:pt idx="82">
                  <c:v>402.14156029446917</c:v>
                </c:pt>
                <c:pt idx="83">
                  <c:v>410.96000711180454</c:v>
                </c:pt>
                <c:pt idx="84">
                  <c:v>419.69390451329008</c:v>
                </c:pt>
                <c:pt idx="85">
                  <c:v>428.33229268624223</c:v>
                </c:pt>
                <c:pt idx="86">
                  <c:v>436.86471760996955</c:v>
                </c:pt>
                <c:pt idx="87">
                  <c:v>445.28127268792309</c:v>
                </c:pt>
                <c:pt idx="88">
                  <c:v>453.57263583308469</c:v>
                </c:pt>
                <c:pt idx="89">
                  <c:v>461.73009815776453</c:v>
                </c:pt>
                <c:pt idx="90">
                  <c:v>469.74558630299725</c:v>
                </c:pt>
                <c:pt idx="91">
                  <c:v>477.61168284491902</c:v>
                </c:pt>
                <c:pt idx="92">
                  <c:v>485.32163935283211</c:v>
                </c:pt>
                <c:pt idx="93">
                  <c:v>492.86938299754161</c:v>
                </c:pt>
                <c:pt idx="94">
                  <c:v>500.24951999865243</c:v>
                </c:pt>
                <c:pt idx="95">
                  <c:v>507.457333402686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4</c:v>
                </c:pt>
                <c:pt idx="1">
                  <c:v>34</c:v>
                </c:pt>
                <c:pt idx="2">
                  <c:v>34</c:v>
                </c:pt>
                <c:pt idx="3">
                  <c:v>43</c:v>
                </c:pt>
                <c:pt idx="4">
                  <c:v>43</c:v>
                </c:pt>
                <c:pt idx="5">
                  <c:v>47</c:v>
                </c:pt>
                <c:pt idx="6">
                  <c:v>47</c:v>
                </c:pt>
                <c:pt idx="7">
                  <c:v>47</c:v>
                </c:pt>
                <c:pt idx="8">
                  <c:v>47</c:v>
                </c:pt>
                <c:pt idx="9">
                  <c:v>47</c:v>
                </c:pt>
                <c:pt idx="10">
                  <c:v>55</c:v>
                </c:pt>
                <c:pt idx="11">
                  <c:v>58</c:v>
                </c:pt>
                <c:pt idx="12">
                  <c:v>59</c:v>
                </c:pt>
                <c:pt idx="13">
                  <c:v>64</c:v>
                </c:pt>
                <c:pt idx="14">
                  <c:v>68</c:v>
                </c:pt>
                <c:pt idx="15">
                  <c:v>68</c:v>
                </c:pt>
                <c:pt idx="16">
                  <c:v>68</c:v>
                </c:pt>
                <c:pt idx="17">
                  <c:v>70</c:v>
                </c:pt>
                <c:pt idx="18">
                  <c:v>71</c:v>
                </c:pt>
                <c:pt idx="19">
                  <c:v>78</c:v>
                </c:pt>
                <c:pt idx="20">
                  <c:v>88</c:v>
                </c:pt>
                <c:pt idx="21">
                  <c:v>100</c:v>
                </c:pt>
                <c:pt idx="22">
                  <c:v>102</c:v>
                </c:pt>
                <c:pt idx="23">
                  <c:v>108</c:v>
                </c:pt>
                <c:pt idx="24">
                  <c:v>119</c:v>
                </c:pt>
                <c:pt idx="25">
                  <c:v>134</c:v>
                </c:pt>
                <c:pt idx="26">
                  <c:v>143</c:v>
                </c:pt>
                <c:pt idx="27">
                  <c:v>149</c:v>
                </c:pt>
                <c:pt idx="28">
                  <c:v>162</c:v>
                </c:pt>
                <c:pt idx="29">
                  <c:v>172</c:v>
                </c:pt>
                <c:pt idx="30">
                  <c:v>188</c:v>
                </c:pt>
                <c:pt idx="31">
                  <c:v>218</c:v>
                </c:pt>
                <c:pt idx="32">
                  <c:v>237</c:v>
                </c:pt>
                <c:pt idx="33">
                  <c:v>255</c:v>
                </c:pt>
                <c:pt idx="34">
                  <c:v>273</c:v>
                </c:pt>
                <c:pt idx="35">
                  <c:v>293</c:v>
                </c:pt>
                <c:pt idx="36">
                  <c:v>303</c:v>
                </c:pt>
                <c:pt idx="37">
                  <c:v>319</c:v>
                </c:pt>
                <c:pt idx="38">
                  <c:v>353</c:v>
                </c:pt>
                <c:pt idx="39">
                  <c:v>370</c:v>
                </c:pt>
                <c:pt idx="40">
                  <c:v>401</c:v>
                </c:pt>
                <c:pt idx="41">
                  <c:v>442</c:v>
                </c:pt>
                <c:pt idx="42">
                  <c:v>465</c:v>
                </c:pt>
                <c:pt idx="43">
                  <c:v>489</c:v>
                </c:pt>
                <c:pt idx="44">
                  <c:v>504</c:v>
                </c:pt>
                <c:pt idx="45">
                  <c:v>560</c:v>
                </c:pt>
                <c:pt idx="46">
                  <c:v>602</c:v>
                </c:pt>
                <c:pt idx="47">
                  <c:v>624</c:v>
                </c:pt>
                <c:pt idx="48">
                  <c:v>681</c:v>
                </c:pt>
                <c:pt idx="49">
                  <c:v>725</c:v>
                </c:pt>
                <c:pt idx="50">
                  <c:v>7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64.05749043963726</c:v>
                </c:pt>
                <c:pt idx="43">
                  <c:v>488.62709308948638</c:v>
                </c:pt>
                <c:pt idx="44">
                  <c:v>513.73056898028676</c:v>
                </c:pt>
                <c:pt idx="45">
                  <c:v>539.47494695182968</c:v>
                </c:pt>
                <c:pt idx="46">
                  <c:v>565.88964688861267</c:v>
                </c:pt>
                <c:pt idx="47">
                  <c:v>592.82330860803449</c:v>
                </c:pt>
                <c:pt idx="48">
                  <c:v>620.26915299811026</c:v>
                </c:pt>
                <c:pt idx="49">
                  <c:v>648.1139909389118</c:v>
                </c:pt>
                <c:pt idx="50">
                  <c:v>676.31476552328445</c:v>
                </c:pt>
                <c:pt idx="51">
                  <c:v>704.93135451727471</c:v>
                </c:pt>
                <c:pt idx="52">
                  <c:v>733.86537539310984</c:v>
                </c:pt>
                <c:pt idx="53">
                  <c:v>763.10732584954621</c:v>
                </c:pt>
                <c:pt idx="54">
                  <c:v>792.72913896012687</c:v>
                </c:pt>
                <c:pt idx="55">
                  <c:v>822.62383047211711</c:v>
                </c:pt>
                <c:pt idx="56">
                  <c:v>852.75483578218564</c:v>
                </c:pt>
                <c:pt idx="57">
                  <c:v>883.14914219756179</c:v>
                </c:pt>
                <c:pt idx="58">
                  <c:v>913.75945241800446</c:v>
                </c:pt>
                <c:pt idx="59">
                  <c:v>944.54034126256806</c:v>
                </c:pt>
                <c:pt idx="60">
                  <c:v>975.49415466026983</c:v>
                </c:pt>
                <c:pt idx="61">
                  <c:v>1006.6179281223732</c:v>
                </c:pt>
                <c:pt idx="62">
                  <c:v>1037.8568325879041</c:v>
                </c:pt>
                <c:pt idx="63">
                  <c:v>1069.1781497838322</c:v>
                </c:pt>
                <c:pt idx="64">
                  <c:v>1100.5841540688764</c:v>
                </c:pt>
                <c:pt idx="65">
                  <c:v>1132.0158092665438</c:v>
                </c:pt>
                <c:pt idx="66">
                  <c:v>1163.453233990188</c:v>
                </c:pt>
                <c:pt idx="67">
                  <c:v>1194.905273465557</c:v>
                </c:pt>
                <c:pt idx="68">
                  <c:v>1226.3100121086582</c:v>
                </c:pt>
                <c:pt idx="69">
                  <c:v>1257.6507186823756</c:v>
                </c:pt>
                <c:pt idx="70">
                  <c:v>1288.9007938387228</c:v>
                </c:pt>
                <c:pt idx="71">
                  <c:v>1320.0337564995007</c:v>
                </c:pt>
                <c:pt idx="72">
                  <c:v>1351.0238750408321</c:v>
                </c:pt>
                <c:pt idx="73">
                  <c:v>1381.8461651689513</c:v>
                </c:pt>
                <c:pt idx="74">
                  <c:v>1412.4761909257063</c:v>
                </c:pt>
                <c:pt idx="75">
                  <c:v>1442.8900755661073</c:v>
                </c:pt>
                <c:pt idx="76">
                  <c:v>1473.0645818495566</c:v>
                </c:pt>
                <c:pt idx="77">
                  <c:v>1502.9771835295739</c:v>
                </c:pt>
                <c:pt idx="78">
                  <c:v>1532.6061827052488</c:v>
                </c:pt>
                <c:pt idx="79">
                  <c:v>1561.9307824941745</c:v>
                </c:pt>
                <c:pt idx="80">
                  <c:v>1590.9311196775243</c:v>
                </c:pt>
                <c:pt idx="81">
                  <c:v>1619.5882967918033</c:v>
                </c:pt>
                <c:pt idx="82">
                  <c:v>1647.8844028811122</c:v>
                </c:pt>
                <c:pt idx="83">
                  <c:v>1675.8025265028425</c:v>
                </c:pt>
                <c:pt idx="84">
                  <c:v>1703.3267845053806</c:v>
                </c:pt>
                <c:pt idx="85">
                  <c:v>1730.442344203565</c:v>
                </c:pt>
                <c:pt idx="86">
                  <c:v>1757.135431706449</c:v>
                </c:pt>
                <c:pt idx="87">
                  <c:v>1783.3933428009636</c:v>
                </c:pt>
                <c:pt idx="88">
                  <c:v>1809.2044526532143</c:v>
                </c:pt>
                <c:pt idx="89">
                  <c:v>1834.5582108937822</c:v>
                </c:pt>
                <c:pt idx="90">
                  <c:v>1859.4451293549712</c:v>
                </c:pt>
                <c:pt idx="91">
                  <c:v>1883.856780189034</c:v>
                </c:pt>
                <c:pt idx="92">
                  <c:v>1907.7857826741272</c:v>
                </c:pt>
                <c:pt idx="93">
                  <c:v>1931.2257827216463</c:v>
                </c:pt>
                <c:pt idx="94">
                  <c:v>1954.1714363032443</c:v>
                </c:pt>
                <c:pt idx="95">
                  <c:v>1976.6183878895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64.56001079829122</c:v>
                </c:pt>
                <c:pt idx="43">
                  <c:v>489.83336811040834</c:v>
                </c:pt>
                <c:pt idx="44">
                  <c:v>515.86547454134973</c:v>
                </c:pt>
                <c:pt idx="45">
                  <c:v>542.78613131619204</c:v>
                </c:pt>
                <c:pt idx="46">
                  <c:v>570.64672298646133</c:v>
                </c:pt>
                <c:pt idx="47">
                  <c:v>599.31658050032729</c:v>
                </c:pt>
                <c:pt idx="48">
                  <c:v>628.80664023858697</c:v>
                </c:pt>
                <c:pt idx="49">
                  <c:v>659.01936066061035</c:v>
                </c:pt>
                <c:pt idx="50">
                  <c:v>689.92503010334269</c:v>
                </c:pt>
                <c:pt idx="51">
                  <c:v>721.5949528660542</c:v>
                </c:pt>
                <c:pt idx="52">
                  <c:v>753.94093344728708</c:v>
                </c:pt>
                <c:pt idx="53">
                  <c:v>786.9616987292992</c:v>
                </c:pt>
                <c:pt idx="54">
                  <c:v>820.73578616892394</c:v>
                </c:pt>
                <c:pt idx="55">
                  <c:v>855.16120619508536</c:v>
                </c:pt>
                <c:pt idx="56">
                  <c:v>890.20468352935291</c:v>
                </c:pt>
                <c:pt idx="57">
                  <c:v>925.89475828213449</c:v>
                </c:pt>
                <c:pt idx="58">
                  <c:v>962.18425479707219</c:v>
                </c:pt>
                <c:pt idx="59">
                  <c:v>999.02636686910637</c:v>
                </c:pt>
                <c:pt idx="60">
                  <c:v>1036.4202556227185</c:v>
                </c:pt>
                <c:pt idx="61">
                  <c:v>1074.3580234130004</c:v>
                </c:pt>
                <c:pt idx="62">
                  <c:v>1112.7783854072936</c:v>
                </c:pt>
                <c:pt idx="63">
                  <c:v>1151.6404065963375</c:v>
                </c:pt>
                <c:pt idx="64">
                  <c:v>1190.9364482120566</c:v>
                </c:pt>
                <c:pt idx="65">
                  <c:v>1230.5965947949599</c:v>
                </c:pt>
                <c:pt idx="66">
                  <c:v>1270.5889009469888</c:v>
                </c:pt>
                <c:pt idx="67">
                  <c:v>1310.908510288855</c:v>
                </c:pt>
                <c:pt idx="68">
                  <c:v>1351.4784906229631</c:v>
                </c:pt>
                <c:pt idx="69">
                  <c:v>1392.2657160307131</c:v>
                </c:pt>
                <c:pt idx="70">
                  <c:v>1433.2260133687246</c:v>
                </c:pt>
                <c:pt idx="71">
                  <c:v>1474.3142600711706</c:v>
                </c:pt>
                <c:pt idx="72">
                  <c:v>1515.4853512103659</c:v>
                </c:pt>
                <c:pt idx="73">
                  <c:v>1556.6942815473371</c:v>
                </c:pt>
                <c:pt idx="74">
                  <c:v>1597.8959557310432</c:v>
                </c:pt>
                <c:pt idx="75">
                  <c:v>1639.0452992119051</c:v>
                </c:pt>
                <c:pt idx="76">
                  <c:v>1680.0974684927826</c:v>
                </c:pt>
                <c:pt idx="77">
                  <c:v>1721.008049122436</c:v>
                </c:pt>
                <c:pt idx="78">
                  <c:v>1761.7333207646959</c:v>
                </c:pt>
                <c:pt idx="79">
                  <c:v>1802.2304600086363</c:v>
                </c:pt>
                <c:pt idx="80">
                  <c:v>1842.457686034398</c:v>
                </c:pt>
                <c:pt idx="81">
                  <c:v>1882.37440295693</c:v>
                </c:pt>
                <c:pt idx="82">
                  <c:v>1921.9413246877652</c:v>
                </c:pt>
                <c:pt idx="83">
                  <c:v>1961.1205861683989</c:v>
                </c:pt>
                <c:pt idx="84">
                  <c:v>1999.8758707411077</c:v>
                </c:pt>
                <c:pt idx="85">
                  <c:v>2038.1725238239853</c:v>
                </c:pt>
                <c:pt idx="86">
                  <c:v>2075.9776420930866</c:v>
                </c:pt>
                <c:pt idx="87">
                  <c:v>2113.2601595758351</c:v>
                </c:pt>
                <c:pt idx="88">
                  <c:v>2149.9909258379494</c:v>
                </c:pt>
                <c:pt idx="89">
                  <c:v>2186.1427574014206</c:v>
                </c:pt>
                <c:pt idx="90">
                  <c:v>2221.6904717570405</c:v>
                </c:pt>
                <c:pt idx="91">
                  <c:v>2256.6109287037925</c:v>
                </c:pt>
                <c:pt idx="92">
                  <c:v>2290.8830489670504</c:v>
                </c:pt>
                <c:pt idx="93">
                  <c:v>2324.4878157944086</c:v>
                </c:pt>
                <c:pt idx="94">
                  <c:v>2357.4082750544494</c:v>
                </c:pt>
                <c:pt idx="95">
                  <c:v>2389.62952211976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65.0657199132271</c:v>
                </c:pt>
                <c:pt idx="43">
                  <c:v>491.05116979531965</c:v>
                </c:pt>
                <c:pt idx="44">
                  <c:v>518.0288288284886</c:v>
                </c:pt>
                <c:pt idx="45">
                  <c:v>546.15537726807395</c:v>
                </c:pt>
                <c:pt idx="46">
                  <c:v>575.50886316288313</c:v>
                </c:pt>
                <c:pt idx="47">
                  <c:v>605.98453915993878</c:v>
                </c:pt>
                <c:pt idx="48">
                  <c:v>637.6167617939376</c:v>
                </c:pt>
                <c:pt idx="49">
                  <c:v>670.32974617624654</c:v>
                </c:pt>
                <c:pt idx="50">
                  <c:v>704.11353700702227</c:v>
                </c:pt>
                <c:pt idx="51">
                  <c:v>739.05749423150769</c:v>
                </c:pt>
                <c:pt idx="52">
                  <c:v>775.09035009353704</c:v>
                </c:pt>
                <c:pt idx="53">
                  <c:v>812.22577949827621</c:v>
                </c:pt>
                <c:pt idx="54">
                  <c:v>850.55551788304615</c:v>
                </c:pt>
                <c:pt idx="55">
                  <c:v>889.98892080433779</c:v>
                </c:pt>
                <c:pt idx="56">
                  <c:v>930.50203900558677</c:v>
                </c:pt>
                <c:pt idx="57">
                  <c:v>972.13054485098712</c:v>
                </c:pt>
                <c:pt idx="58">
                  <c:v>1014.8324467121663</c:v>
                </c:pt>
                <c:pt idx="59">
                  <c:v>1058.5640044369652</c:v>
                </c:pt>
                <c:pt idx="60">
                  <c:v>1103.3248643809343</c:v>
                </c:pt>
                <c:pt idx="61">
                  <c:v>1149.1050074188661</c:v>
                </c:pt>
                <c:pt idx="62">
                  <c:v>1195.8385549643533</c:v>
                </c:pt>
                <c:pt idx="63">
                  <c:v>1243.4772228542599</c:v>
                </c:pt>
                <c:pt idx="64">
                  <c:v>1292.0032703638103</c:v>
                </c:pt>
                <c:pt idx="65">
                  <c:v>1341.3347221437302</c:v>
                </c:pt>
                <c:pt idx="66">
                  <c:v>1391.4253706481991</c:v>
                </c:pt>
                <c:pt idx="67">
                  <c:v>1442.2533036905004</c:v>
                </c:pt>
                <c:pt idx="68">
                  <c:v>1493.7220943507775</c:v>
                </c:pt>
                <c:pt idx="69">
                  <c:v>1545.776642809474</c:v>
                </c:pt>
                <c:pt idx="70">
                  <c:v>1598.3485759723226</c:v>
                </c:pt>
                <c:pt idx="71">
                  <c:v>1651.3665094283811</c:v>
                </c:pt>
                <c:pt idx="72">
                  <c:v>1704.7574693864005</c:v>
                </c:pt>
                <c:pt idx="73">
                  <c:v>1758.4471333481254</c:v>
                </c:pt>
                <c:pt idx="74">
                  <c:v>1812.3597191424458</c:v>
                </c:pt>
                <c:pt idx="75">
                  <c:v>1866.4182966977394</c:v>
                </c:pt>
                <c:pt idx="76">
                  <c:v>1920.5452442411424</c:v>
                </c:pt>
                <c:pt idx="77">
                  <c:v>1974.6626940981359</c:v>
                </c:pt>
                <c:pt idx="78">
                  <c:v>2028.6930764476035</c:v>
                </c:pt>
                <c:pt idx="79">
                  <c:v>2082.5595815084785</c:v>
                </c:pt>
                <c:pt idx="80">
                  <c:v>2136.1865449297184</c:v>
                </c:pt>
                <c:pt idx="81">
                  <c:v>2189.4998255311179</c:v>
                </c:pt>
                <c:pt idx="82">
                  <c:v>2242.4271553004583</c:v>
                </c:pt>
                <c:pt idx="83">
                  <c:v>2294.8984642067544</c:v>
                </c:pt>
                <c:pt idx="84">
                  <c:v>2346.8462155850038</c:v>
                </c:pt>
                <c:pt idx="85">
                  <c:v>2398.2057118927537</c:v>
                </c:pt>
                <c:pt idx="86">
                  <c:v>2448.9153546340722</c:v>
                </c:pt>
                <c:pt idx="87">
                  <c:v>2498.9168849402372</c:v>
                </c:pt>
                <c:pt idx="88">
                  <c:v>2548.1555981089796</c:v>
                </c:pt>
                <c:pt idx="89">
                  <c:v>2596.5805060956559</c:v>
                </c:pt>
                <c:pt idx="90">
                  <c:v>2644.1444596342185</c:v>
                </c:pt>
                <c:pt idx="91">
                  <c:v>2690.8042633558753</c:v>
                </c:pt>
                <c:pt idx="92">
                  <c:v>2736.5207437870222</c:v>
                </c:pt>
                <c:pt idx="93">
                  <c:v>2781.2587784156758</c:v>
                </c:pt>
                <c:pt idx="94">
                  <c:v>2824.9873071716506</c:v>
                </c:pt>
                <c:pt idx="95">
                  <c:v>2867.67931183255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4</c:v>
                </c:pt>
                <c:pt idx="1">
                  <c:v>14</c:v>
                </c:pt>
                <c:pt idx="2">
                  <c:v>16</c:v>
                </c:pt>
                <c:pt idx="3">
                  <c:v>17</c:v>
                </c:pt>
                <c:pt idx="4">
                  <c:v>18</c:v>
                </c:pt>
                <c:pt idx="5">
                  <c:v>20</c:v>
                </c:pt>
                <c:pt idx="6">
                  <c:v>20</c:v>
                </c:pt>
                <c:pt idx="7">
                  <c:v>20</c:v>
                </c:pt>
                <c:pt idx="8">
                  <c:v>21</c:v>
                </c:pt>
                <c:pt idx="9">
                  <c:v>21</c:v>
                </c:pt>
                <c:pt idx="10">
                  <c:v>22</c:v>
                </c:pt>
                <c:pt idx="11">
                  <c:v>22</c:v>
                </c:pt>
                <c:pt idx="12">
                  <c:v>24</c:v>
                </c:pt>
                <c:pt idx="13">
                  <c:v>26</c:v>
                </c:pt>
                <c:pt idx="14">
                  <c:v>26</c:v>
                </c:pt>
                <c:pt idx="15">
                  <c:v>26</c:v>
                </c:pt>
                <c:pt idx="16">
                  <c:v>27</c:v>
                </c:pt>
                <c:pt idx="17">
                  <c:v>36</c:v>
                </c:pt>
                <c:pt idx="18">
                  <c:v>39</c:v>
                </c:pt>
                <c:pt idx="19">
                  <c:v>42</c:v>
                </c:pt>
                <c:pt idx="20">
                  <c:v>43</c:v>
                </c:pt>
                <c:pt idx="21">
                  <c:v>45</c:v>
                </c:pt>
                <c:pt idx="22">
                  <c:v>49</c:v>
                </c:pt>
                <c:pt idx="23">
                  <c:v>52</c:v>
                </c:pt>
                <c:pt idx="24">
                  <c:v>53</c:v>
                </c:pt>
                <c:pt idx="25">
                  <c:v>56</c:v>
                </c:pt>
                <c:pt idx="26">
                  <c:v>60</c:v>
                </c:pt>
                <c:pt idx="27">
                  <c:v>61</c:v>
                </c:pt>
                <c:pt idx="28">
                  <c:v>63</c:v>
                </c:pt>
                <c:pt idx="29">
                  <c:v>66</c:v>
                </c:pt>
                <c:pt idx="30">
                  <c:v>68</c:v>
                </c:pt>
                <c:pt idx="31">
                  <c:v>69</c:v>
                </c:pt>
                <c:pt idx="32">
                  <c:v>77</c:v>
                </c:pt>
                <c:pt idx="33">
                  <c:v>83</c:v>
                </c:pt>
                <c:pt idx="34">
                  <c:v>93</c:v>
                </c:pt>
                <c:pt idx="35">
                  <c:v>99</c:v>
                </c:pt>
                <c:pt idx="36">
                  <c:v>109</c:v>
                </c:pt>
                <c:pt idx="37">
                  <c:v>111</c:v>
                </c:pt>
                <c:pt idx="38">
                  <c:v>123</c:v>
                </c:pt>
                <c:pt idx="39">
                  <c:v>129</c:v>
                </c:pt>
                <c:pt idx="40">
                  <c:v>139</c:v>
                </c:pt>
                <c:pt idx="41">
                  <c:v>147</c:v>
                </c:pt>
                <c:pt idx="42">
                  <c:v>161</c:v>
                </c:pt>
                <c:pt idx="43">
                  <c:v>173</c:v>
                </c:pt>
                <c:pt idx="44">
                  <c:v>181</c:v>
                </c:pt>
                <c:pt idx="45">
                  <c:v>194</c:v>
                </c:pt>
                <c:pt idx="46">
                  <c:v>207</c:v>
                </c:pt>
                <c:pt idx="47">
                  <c:v>224</c:v>
                </c:pt>
                <c:pt idx="48">
                  <c:v>236</c:v>
                </c:pt>
                <c:pt idx="49">
                  <c:v>236</c:v>
                </c:pt>
                <c:pt idx="50">
                  <c:v>2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56.74317859854523</c:v>
                </c:pt>
                <c:pt idx="43">
                  <c:v>166.68508522465243</c:v>
                </c:pt>
                <c:pt idx="44">
                  <c:v>176.82726277748455</c:v>
                </c:pt>
                <c:pt idx="45">
                  <c:v>187.21255318193445</c:v>
                </c:pt>
                <c:pt idx="46">
                  <c:v>197.85264067747192</c:v>
                </c:pt>
                <c:pt idx="47">
                  <c:v>208.693997121188</c:v>
                </c:pt>
                <c:pt idx="48">
                  <c:v>219.73818907340518</c:v>
                </c:pt>
                <c:pt idx="49">
                  <c:v>230.94667435881718</c:v>
                </c:pt>
                <c:pt idx="50">
                  <c:v>242.29622249736269</c:v>
                </c:pt>
                <c:pt idx="51">
                  <c:v>253.81068564010792</c:v>
                </c:pt>
                <c:pt idx="52">
                  <c:v>265.45652785526119</c:v>
                </c:pt>
                <c:pt idx="53">
                  <c:v>277.22721351863538</c:v>
                </c:pt>
                <c:pt idx="54">
                  <c:v>289.15441922387055</c:v>
                </c:pt>
                <c:pt idx="55">
                  <c:v>301.19465382397777</c:v>
                </c:pt>
                <c:pt idx="56">
                  <c:v>313.33357823274059</c:v>
                </c:pt>
                <c:pt idx="57">
                  <c:v>325.58173420512571</c:v>
                </c:pt>
                <c:pt idx="58">
                  <c:v>337.91906217852426</c:v>
                </c:pt>
                <c:pt idx="59">
                  <c:v>350.33042537106394</c:v>
                </c:pt>
                <c:pt idx="60">
                  <c:v>362.81904230198762</c:v>
                </c:pt>
                <c:pt idx="61">
                  <c:v>375.37773979788562</c:v>
                </c:pt>
                <c:pt idx="62">
                  <c:v>387.98792975491438</c:v>
                </c:pt>
                <c:pt idx="63">
                  <c:v>400.63624470413293</c:v>
                </c:pt>
                <c:pt idx="64">
                  <c:v>413.32118441787071</c:v>
                </c:pt>
                <c:pt idx="65">
                  <c:v>426.01874972929221</c:v>
                </c:pt>
                <c:pt idx="66">
                  <c:v>438.72202562477258</c:v>
                </c:pt>
                <c:pt idx="67">
                  <c:v>451.43783988548438</c:v>
                </c:pt>
                <c:pt idx="68">
                  <c:v>464.1378550682665</c:v>
                </c:pt>
                <c:pt idx="69">
                  <c:v>476.81619845868528</c:v>
                </c:pt>
                <c:pt idx="70">
                  <c:v>489.46207746243363</c:v>
                </c:pt>
                <c:pt idx="71">
                  <c:v>502.06475060175148</c:v>
                </c:pt>
                <c:pt idx="72">
                  <c:v>514.61377159182098</c:v>
                </c:pt>
                <c:pt idx="73">
                  <c:v>527.09898498006555</c:v>
                </c:pt>
                <c:pt idx="74">
                  <c:v>539.51044313044849</c:v>
                </c:pt>
                <c:pt idx="75">
                  <c:v>551.83841204808687</c:v>
                </c:pt>
                <c:pt idx="76">
                  <c:v>564.07340403199828</c:v>
                </c:pt>
                <c:pt idx="77">
                  <c:v>576.20620698336438</c:v>
                </c:pt>
                <c:pt idx="78">
                  <c:v>588.22793525586394</c:v>
                </c:pt>
                <c:pt idx="79">
                  <c:v>600.13005883160156</c:v>
                </c:pt>
                <c:pt idx="80">
                  <c:v>611.90441695802815</c:v>
                </c:pt>
                <c:pt idx="81">
                  <c:v>623.54323138138943</c:v>
                </c:pt>
                <c:pt idx="82">
                  <c:v>635.03911588264918</c:v>
                </c:pt>
                <c:pt idx="83">
                  <c:v>646.38508277741857</c:v>
                </c:pt>
                <c:pt idx="84">
                  <c:v>657.57455466652436</c:v>
                </c:pt>
                <c:pt idx="85">
                  <c:v>668.60137435261186</c:v>
                </c:pt>
                <c:pt idx="86">
                  <c:v>679.4598096150911</c:v>
                </c:pt>
                <c:pt idx="87">
                  <c:v>690.14455836006482</c:v>
                </c:pt>
                <c:pt idx="88">
                  <c:v>700.65075273669197</c:v>
                </c:pt>
                <c:pt idx="89">
                  <c:v>710.97395782075512</c:v>
                </c:pt>
                <c:pt idx="90">
                  <c:v>721.11016806494513</c:v>
                </c:pt>
                <c:pt idx="91">
                  <c:v>731.05580643547921</c:v>
                </c:pt>
                <c:pt idx="92">
                  <c:v>740.80772002162337</c:v>
                </c:pt>
                <c:pt idx="93">
                  <c:v>750.36317283756932</c:v>
                </c:pt>
                <c:pt idx="94">
                  <c:v>759.71983984618339</c:v>
                </c:pt>
                <c:pt idx="95">
                  <c:v>768.875798458308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56.94078842169949</c:v>
                </c:pt>
                <c:pt idx="43">
                  <c:v>167.15941832220739</c:v>
                </c:pt>
                <c:pt idx="44">
                  <c:v>177.66680047471721</c:v>
                </c:pt>
                <c:pt idx="45">
                  <c:v>188.51480867244243</c:v>
                </c:pt>
                <c:pt idx="46">
                  <c:v>199.7238525061405</c:v>
                </c:pt>
                <c:pt idx="47">
                  <c:v>211.24867702149717</c:v>
                </c:pt>
                <c:pt idx="48">
                  <c:v>223.09807844770518</c:v>
                </c:pt>
                <c:pt idx="49">
                  <c:v>235.23998055327036</c:v>
                </c:pt>
                <c:pt idx="50">
                  <c:v>247.65677574830767</c:v>
                </c:pt>
                <c:pt idx="51">
                  <c:v>260.37719602190845</c:v>
                </c:pt>
                <c:pt idx="52">
                  <c:v>273.37207233547173</c:v>
                </c:pt>
                <c:pt idx="53">
                  <c:v>286.63849372849785</c:v>
                </c:pt>
                <c:pt idx="54">
                  <c:v>300.21109095425368</c:v>
                </c:pt>
                <c:pt idx="55">
                  <c:v>314.04869762727691</c:v>
                </c:pt>
                <c:pt idx="56">
                  <c:v>328.13861869276241</c:v>
                </c:pt>
                <c:pt idx="57">
                  <c:v>342.49233181035152</c:v>
                </c:pt>
                <c:pt idx="58">
                  <c:v>357.09012161768311</c:v>
                </c:pt>
                <c:pt idx="59">
                  <c:v>371.91658460408843</c:v>
                </c:pt>
                <c:pt idx="60">
                  <c:v>386.97393906202922</c:v>
                </c:pt>
                <c:pt idx="61">
                  <c:v>402.2532968041935</c:v>
                </c:pt>
                <c:pt idx="62">
                  <c:v>417.73370452929896</c:v>
                </c:pt>
                <c:pt idx="63">
                  <c:v>433.39872330321151</c:v>
                </c:pt>
                <c:pt idx="64">
                  <c:v>449.24310119902879</c:v>
                </c:pt>
                <c:pt idx="65">
                  <c:v>465.23866912243142</c:v>
                </c:pt>
                <c:pt idx="66">
                  <c:v>481.37385880143137</c:v>
                </c:pt>
                <c:pt idx="67">
                  <c:v>497.65017121556679</c:v>
                </c:pt>
                <c:pt idx="68">
                  <c:v>514.03340426539387</c:v>
                </c:pt>
                <c:pt idx="69">
                  <c:v>530.51124200485083</c:v>
                </c:pt>
                <c:pt idx="70">
                  <c:v>547.0659544892286</c:v>
                </c:pt>
                <c:pt idx="71">
                  <c:v>563.67942049424414</c:v>
                </c:pt>
                <c:pt idx="72">
                  <c:v>580.33350154084428</c:v>
                </c:pt>
                <c:pt idx="73">
                  <c:v>597.01006952870739</c:v>
                </c:pt>
                <c:pt idx="74">
                  <c:v>613.69092608140704</c:v>
                </c:pt>
                <c:pt idx="75">
                  <c:v>630.3578488283963</c:v>
                </c:pt>
                <c:pt idx="76">
                  <c:v>646.9926761734132</c:v>
                </c:pt>
                <c:pt idx="77">
                  <c:v>663.57738759793961</c:v>
                </c:pt>
                <c:pt idx="78">
                  <c:v>680.09421553350785</c:v>
                </c:pt>
                <c:pt idx="79">
                  <c:v>696.52572691974819</c:v>
                </c:pt>
                <c:pt idx="80">
                  <c:v>712.85488271333827</c:v>
                </c:pt>
                <c:pt idx="81">
                  <c:v>729.06509611547926</c:v>
                </c:pt>
                <c:pt idx="82">
                  <c:v>745.14028508136187</c:v>
                </c:pt>
                <c:pt idx="83">
                  <c:v>761.06491947774805</c:v>
                </c:pt>
                <c:pt idx="84">
                  <c:v>776.82407343661851</c:v>
                </c:pt>
                <c:pt idx="85">
                  <c:v>792.40347333243039</c:v>
                </c:pt>
                <c:pt idx="86">
                  <c:v>807.78953665020731</c:v>
                </c:pt>
                <c:pt idx="87">
                  <c:v>822.96940875766836</c:v>
                </c:pt>
                <c:pt idx="88">
                  <c:v>837.9309958123913</c:v>
                </c:pt>
                <c:pt idx="89">
                  <c:v>852.66298757121581</c:v>
                </c:pt>
                <c:pt idx="90">
                  <c:v>867.15487418028908</c:v>
                </c:pt>
                <c:pt idx="91">
                  <c:v>881.39696387684774</c:v>
                </c:pt>
                <c:pt idx="92">
                  <c:v>895.38039294959799</c:v>
                </c:pt>
                <c:pt idx="93">
                  <c:v>909.09712901988712</c:v>
                </c:pt>
                <c:pt idx="94">
                  <c:v>922.53997319876794</c:v>
                </c:pt>
                <c:pt idx="95">
                  <c:v>935.702556177432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57.13966224799483</c:v>
                </c:pt>
                <c:pt idx="43">
                  <c:v>167.63830944742108</c:v>
                </c:pt>
                <c:pt idx="44">
                  <c:v>178.51757213166633</c:v>
                </c:pt>
                <c:pt idx="45">
                  <c:v>189.83997466667222</c:v>
                </c:pt>
                <c:pt idx="46">
                  <c:v>201.63650818447812</c:v>
                </c:pt>
                <c:pt idx="47">
                  <c:v>213.87226206784311</c:v>
                </c:pt>
                <c:pt idx="48">
                  <c:v>226.56552645216726</c:v>
                </c:pt>
                <c:pt idx="49">
                  <c:v>239.6931220373927</c:v>
                </c:pt>
                <c:pt idx="50">
                  <c:v>253.24562411725094</c:v>
                </c:pt>
                <c:pt idx="51">
                  <c:v>267.25930172696928</c:v>
                </c:pt>
                <c:pt idx="52">
                  <c:v>281.71206648667271</c:v>
                </c:pt>
                <c:pt idx="53">
                  <c:v>296.60735065173355</c:v>
                </c:pt>
                <c:pt idx="54">
                  <c:v>311.9854214557987</c:v>
                </c:pt>
                <c:pt idx="55">
                  <c:v>327.81003701375425</c:v>
                </c:pt>
                <c:pt idx="56">
                  <c:v>344.07263384177543</c:v>
                </c:pt>
                <c:pt idx="57">
                  <c:v>360.78794476042617</c:v>
                </c:pt>
                <c:pt idx="58">
                  <c:v>377.93872355612382</c:v>
                </c:pt>
                <c:pt idx="59">
                  <c:v>395.51119003779047</c:v>
                </c:pt>
                <c:pt idx="60">
                  <c:v>413.50815190477891</c:v>
                </c:pt>
                <c:pt idx="61">
                  <c:v>431.92026077158027</c:v>
                </c:pt>
                <c:pt idx="62">
                  <c:v>450.7250801651515</c:v>
                </c:pt>
                <c:pt idx="63">
                  <c:v>469.90358924663684</c:v>
                </c:pt>
                <c:pt idx="64">
                  <c:v>489.44685592369711</c:v>
                </c:pt>
                <c:pt idx="65">
                  <c:v>509.32221669366129</c:v>
                </c:pt>
                <c:pt idx="66">
                  <c:v>529.51271600933148</c:v>
                </c:pt>
                <c:pt idx="67">
                  <c:v>550.01332588871401</c:v>
                </c:pt>
                <c:pt idx="68">
                  <c:v>570.78231964086945</c:v>
                </c:pt>
                <c:pt idx="69">
                  <c:v>591.79882784828078</c:v>
                </c:pt>
                <c:pt idx="70">
                  <c:v>613.03564287781978</c:v>
                </c:pt>
                <c:pt idx="71">
                  <c:v>634.46431380933507</c:v>
                </c:pt>
                <c:pt idx="72">
                  <c:v>656.05569523835311</c:v>
                </c:pt>
                <c:pt idx="73">
                  <c:v>677.78003458090484</c:v>
                </c:pt>
                <c:pt idx="74">
                  <c:v>699.60691978141233</c:v>
                </c:pt>
                <c:pt idx="75">
                  <c:v>721.50540527546366</c:v>
                </c:pt>
                <c:pt idx="76">
                  <c:v>743.44419438624982</c:v>
                </c:pt>
                <c:pt idx="77">
                  <c:v>765.39181861784311</c:v>
                </c:pt>
                <c:pt idx="78">
                  <c:v>787.31686301137688</c:v>
                </c:pt>
                <c:pt idx="79">
                  <c:v>809.18815184988398</c:v>
                </c:pt>
                <c:pt idx="80">
                  <c:v>830.97490511191995</c:v>
                </c:pt>
                <c:pt idx="81">
                  <c:v>852.64689248654156</c:v>
                </c:pt>
                <c:pt idx="82">
                  <c:v>874.17457838088751</c:v>
                </c:pt>
                <c:pt idx="83">
                  <c:v>895.5292572354731</c:v>
                </c:pt>
                <c:pt idx="84">
                  <c:v>916.68319180167566</c:v>
                </c:pt>
                <c:pt idx="85">
                  <c:v>937.60974121947015</c:v>
                </c:pt>
                <c:pt idx="86">
                  <c:v>958.2834719661148</c:v>
                </c:pt>
                <c:pt idx="87">
                  <c:v>978.68026006674734</c:v>
                </c:pt>
                <c:pt idx="88">
                  <c:v>998.77738209675056</c:v>
                </c:pt>
                <c:pt idx="89">
                  <c:v>1018.5535862622963</c:v>
                </c:pt>
                <c:pt idx="90">
                  <c:v>1037.9891485718374</c:v>
                </c:pt>
                <c:pt idx="91">
                  <c:v>1057.0659234834002</c:v>
                </c:pt>
                <c:pt idx="92">
                  <c:v>1075.7673774209245</c:v>
                </c:pt>
                <c:pt idx="93">
                  <c:v>1094.0786067803224</c:v>
                </c:pt>
                <c:pt idx="94">
                  <c:v>1111.9863480419549</c:v>
                </c:pt>
                <c:pt idx="95">
                  <c:v>1129.47897383066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</c:v>
                </c:pt>
                <c:pt idx="1">
                  <c:v>11</c:v>
                </c:pt>
                <c:pt idx="2">
                  <c:v>11</c:v>
                </c:pt>
                <c:pt idx="3">
                  <c:v>11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6</c:v>
                </c:pt>
                <c:pt idx="9">
                  <c:v>16</c:v>
                </c:pt>
                <c:pt idx="10">
                  <c:v>17</c:v>
                </c:pt>
                <c:pt idx="11">
                  <c:v>17</c:v>
                </c:pt>
                <c:pt idx="12">
                  <c:v>19</c:v>
                </c:pt>
                <c:pt idx="13">
                  <c:v>20</c:v>
                </c:pt>
                <c:pt idx="14">
                  <c:v>20</c:v>
                </c:pt>
                <c:pt idx="15">
                  <c:v>23</c:v>
                </c:pt>
                <c:pt idx="16">
                  <c:v>24</c:v>
                </c:pt>
                <c:pt idx="17">
                  <c:v>26</c:v>
                </c:pt>
                <c:pt idx="18">
                  <c:v>29</c:v>
                </c:pt>
                <c:pt idx="19">
                  <c:v>30</c:v>
                </c:pt>
                <c:pt idx="20">
                  <c:v>30</c:v>
                </c:pt>
                <c:pt idx="21">
                  <c:v>34</c:v>
                </c:pt>
                <c:pt idx="22">
                  <c:v>36</c:v>
                </c:pt>
                <c:pt idx="23">
                  <c:v>37</c:v>
                </c:pt>
                <c:pt idx="24">
                  <c:v>39</c:v>
                </c:pt>
                <c:pt idx="25">
                  <c:v>43</c:v>
                </c:pt>
                <c:pt idx="26">
                  <c:v>45</c:v>
                </c:pt>
                <c:pt idx="27">
                  <c:v>49</c:v>
                </c:pt>
                <c:pt idx="28">
                  <c:v>53</c:v>
                </c:pt>
                <c:pt idx="29">
                  <c:v>59</c:v>
                </c:pt>
                <c:pt idx="30">
                  <c:v>61</c:v>
                </c:pt>
                <c:pt idx="31">
                  <c:v>75</c:v>
                </c:pt>
                <c:pt idx="32">
                  <c:v>83</c:v>
                </c:pt>
                <c:pt idx="33">
                  <c:v>92</c:v>
                </c:pt>
                <c:pt idx="34">
                  <c:v>101</c:v>
                </c:pt>
                <c:pt idx="35">
                  <c:v>107</c:v>
                </c:pt>
                <c:pt idx="36">
                  <c:v>112</c:v>
                </c:pt>
                <c:pt idx="37">
                  <c:v>117</c:v>
                </c:pt>
                <c:pt idx="38">
                  <c:v>140</c:v>
                </c:pt>
                <c:pt idx="39">
                  <c:v>155</c:v>
                </c:pt>
                <c:pt idx="40">
                  <c:v>164</c:v>
                </c:pt>
                <c:pt idx="41">
                  <c:v>179</c:v>
                </c:pt>
                <c:pt idx="42">
                  <c:v>204</c:v>
                </c:pt>
                <c:pt idx="43">
                  <c:v>210</c:v>
                </c:pt>
                <c:pt idx="44">
                  <c:v>216</c:v>
                </c:pt>
                <c:pt idx="45">
                  <c:v>258</c:v>
                </c:pt>
                <c:pt idx="46">
                  <c:v>283</c:v>
                </c:pt>
                <c:pt idx="47">
                  <c:v>299</c:v>
                </c:pt>
                <c:pt idx="48">
                  <c:v>325</c:v>
                </c:pt>
                <c:pt idx="49">
                  <c:v>356</c:v>
                </c:pt>
                <c:pt idx="50">
                  <c:v>3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83.91459351473247</c:v>
                </c:pt>
                <c:pt idx="43">
                  <c:v>198.10816946107727</c:v>
                </c:pt>
                <c:pt idx="44">
                  <c:v>212.57888486803313</c:v>
                </c:pt>
                <c:pt idx="45">
                  <c:v>227.38764319689216</c:v>
                </c:pt>
                <c:pt idx="46">
                  <c:v>242.55100274770882</c:v>
                </c:pt>
                <c:pt idx="47">
                  <c:v>257.99684375994764</c:v>
                </c:pt>
                <c:pt idx="48">
                  <c:v>273.72980349783563</c:v>
                </c:pt>
                <c:pt idx="49">
                  <c:v>289.69890087266128</c:v>
                </c:pt>
                <c:pt idx="50">
                  <c:v>305.86773553511068</c:v>
                </c:pt>
                <c:pt idx="51">
                  <c:v>322.27015005992735</c:v>
                </c:pt>
                <c:pt idx="52">
                  <c:v>338.86176174684954</c:v>
                </c:pt>
                <c:pt idx="53">
                  <c:v>355.63174117572498</c:v>
                </c:pt>
                <c:pt idx="54">
                  <c:v>372.62674280107098</c:v>
                </c:pt>
                <c:pt idx="55">
                  <c:v>389.78456459071072</c:v>
                </c:pt>
                <c:pt idx="56">
                  <c:v>407.08498963332318</c:v>
                </c:pt>
                <c:pt idx="57">
                  <c:v>424.54285705423899</c:v>
                </c:pt>
                <c:pt idx="58">
                  <c:v>442.12901570281821</c:v>
                </c:pt>
                <c:pt idx="59">
                  <c:v>459.82366274520604</c:v>
                </c:pt>
                <c:pt idx="60">
                  <c:v>477.63265722370568</c:v>
                </c:pt>
                <c:pt idx="61">
                  <c:v>495.54243066732073</c:v>
                </c:pt>
                <c:pt idx="62">
                  <c:v>513.52845009584257</c:v>
                </c:pt>
                <c:pt idx="63">
                  <c:v>531.57155997392181</c:v>
                </c:pt>
                <c:pt idx="64">
                  <c:v>549.66827011160854</c:v>
                </c:pt>
                <c:pt idx="65">
                  <c:v>567.78425644593244</c:v>
                </c:pt>
                <c:pt idx="66">
                  <c:v>585.91027614161067</c:v>
                </c:pt>
                <c:pt idx="67">
                  <c:v>604.05788657930771</c:v>
                </c:pt>
                <c:pt idx="68">
                  <c:v>622.18480250787843</c:v>
                </c:pt>
                <c:pt idx="69">
                  <c:v>640.2831396785366</c:v>
                </c:pt>
                <c:pt idx="70">
                  <c:v>658.33747367104638</c:v>
                </c:pt>
                <c:pt idx="71">
                  <c:v>676.33245485755708</c:v>
                </c:pt>
                <c:pt idx="72">
                  <c:v>694.25315054832947</c:v>
                </c:pt>
                <c:pt idx="73">
                  <c:v>712.08503681581192</c:v>
                </c:pt>
                <c:pt idx="74">
                  <c:v>729.81387858781545</c:v>
                </c:pt>
                <c:pt idx="75">
                  <c:v>747.4257387557866</c:v>
                </c:pt>
                <c:pt idx="76">
                  <c:v>764.90702488262264</c:v>
                </c:pt>
                <c:pt idx="77">
                  <c:v>782.2445312566025</c:v>
                </c:pt>
                <c:pt idx="78">
                  <c:v>799.42551336241593</c:v>
                </c:pt>
                <c:pt idx="79">
                  <c:v>816.43772940574081</c:v>
                </c:pt>
                <c:pt idx="80">
                  <c:v>833.26946002006071</c:v>
                </c:pt>
                <c:pt idx="81">
                  <c:v>849.9095272974339</c:v>
                </c:pt>
                <c:pt idx="82">
                  <c:v>866.34730903677882</c:v>
                </c:pt>
                <c:pt idx="83">
                  <c:v>882.5727487127474</c:v>
                </c:pt>
                <c:pt idx="84">
                  <c:v>898.57637231042111</c:v>
                </c:pt>
                <c:pt idx="85">
                  <c:v>914.34930300833571</c:v>
                </c:pt>
                <c:pt idx="86">
                  <c:v>929.88326877821146</c:v>
                </c:pt>
                <c:pt idx="87">
                  <c:v>945.17061015278887</c:v>
                </c:pt>
                <c:pt idx="88">
                  <c:v>960.20428620885002</c:v>
                </c:pt>
                <c:pt idx="89">
                  <c:v>974.977873062306</c:v>
                </c:pt>
                <c:pt idx="90">
                  <c:v>989.4855595871901</c:v>
                </c:pt>
                <c:pt idx="91">
                  <c:v>1003.722146126265</c:v>
                </c:pt>
                <c:pt idx="92">
                  <c:v>1017.6830387512666</c:v>
                </c:pt>
                <c:pt idx="93">
                  <c:v>1031.3642395959675</c:v>
                </c:pt>
                <c:pt idx="94">
                  <c:v>1044.7623387307635</c:v>
                </c:pt>
                <c:pt idx="95">
                  <c:v>1057.87450215138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84.19351874298204</c:v>
                </c:pt>
                <c:pt idx="43">
                  <c:v>198.77767701107646</c:v>
                </c:pt>
                <c:pt idx="44">
                  <c:v>213.76389530667484</c:v>
                </c:pt>
                <c:pt idx="45">
                  <c:v>229.22586961422201</c:v>
                </c:pt>
                <c:pt idx="46">
                  <c:v>245.19252447708442</c:v>
                </c:pt>
                <c:pt idx="47">
                  <c:v>261.60349603386226</c:v>
                </c:pt>
                <c:pt idx="48">
                  <c:v>278.47377710211464</c:v>
                </c:pt>
                <c:pt idx="49">
                  <c:v>295.76169250168061</c:v>
                </c:pt>
                <c:pt idx="50">
                  <c:v>313.43899354377925</c:v>
                </c:pt>
                <c:pt idx="51">
                  <c:v>331.54663221674804</c:v>
                </c:pt>
                <c:pt idx="52">
                  <c:v>350.0465965839461</c:v>
                </c:pt>
                <c:pt idx="53">
                  <c:v>368.93339619541001</c:v>
                </c:pt>
                <c:pt idx="54">
                  <c:v>388.25805996532245</c:v>
                </c:pt>
                <c:pt idx="55">
                  <c:v>407.96187399084829</c:v>
                </c:pt>
                <c:pt idx="56">
                  <c:v>428.02714284205331</c:v>
                </c:pt>
                <c:pt idx="57">
                  <c:v>448.47021312817077</c:v>
                </c:pt>
                <c:pt idx="58">
                  <c:v>469.26258941783107</c:v>
                </c:pt>
                <c:pt idx="59">
                  <c:v>490.38425079532243</c:v>
                </c:pt>
                <c:pt idx="60">
                  <c:v>511.83978902980516</c:v>
                </c:pt>
                <c:pt idx="61">
                  <c:v>533.6133438272916</c:v>
                </c:pt>
                <c:pt idx="62">
                  <c:v>555.67714317089667</c:v>
                </c:pt>
                <c:pt idx="63">
                  <c:v>578.0077876903498</c:v>
                </c:pt>
                <c:pt idx="64">
                  <c:v>600.59657567631405</c:v>
                </c:pt>
                <c:pt idx="65">
                  <c:v>623.40335926544924</c:v>
                </c:pt>
                <c:pt idx="66">
                  <c:v>646.41237959967452</c:v>
                </c:pt>
                <c:pt idx="67">
                  <c:v>669.62771037814878</c:v>
                </c:pt>
                <c:pt idx="68">
                  <c:v>692.99881159831921</c:v>
                </c:pt>
                <c:pt idx="69">
                  <c:v>716.5087065854251</c:v>
                </c:pt>
                <c:pt idx="70">
                  <c:v>740.1321635943641</c:v>
                </c:pt>
                <c:pt idx="71">
                  <c:v>763.84338831250193</c:v>
                </c:pt>
                <c:pt idx="72">
                  <c:v>787.61654820557419</c:v>
                </c:pt>
                <c:pt idx="73">
                  <c:v>811.42580886715871</c:v>
                </c:pt>
                <c:pt idx="74">
                  <c:v>835.2452167251256</c:v>
                </c:pt>
                <c:pt idx="75">
                  <c:v>859.04876589698074</c:v>
                </c:pt>
                <c:pt idx="76">
                  <c:v>882.81051903796777</c:v>
                </c:pt>
                <c:pt idx="77">
                  <c:v>906.50472209050849</c:v>
                </c:pt>
                <c:pt idx="78">
                  <c:v>930.10596656916073</c:v>
                </c:pt>
                <c:pt idx="79">
                  <c:v>953.58930571431756</c:v>
                </c:pt>
                <c:pt idx="80">
                  <c:v>976.93033976573554</c:v>
                </c:pt>
                <c:pt idx="81">
                  <c:v>1000.1052994415376</c:v>
                </c:pt>
                <c:pt idx="82">
                  <c:v>1023.0911220092352</c:v>
                </c:pt>
                <c:pt idx="83">
                  <c:v>1045.865519806785</c:v>
                </c:pt>
                <c:pt idx="84">
                  <c:v>1068.4070554387877</c:v>
                </c:pt>
                <c:pt idx="85">
                  <c:v>1090.6952113739912</c:v>
                </c:pt>
                <c:pt idx="86">
                  <c:v>1112.7104469846718</c:v>
                </c:pt>
                <c:pt idx="87">
                  <c:v>1134.4342521223721</c:v>
                </c:pt>
                <c:pt idx="88">
                  <c:v>1155.8491948049927</c:v>
                </c:pt>
                <c:pt idx="89">
                  <c:v>1176.9389548967456</c:v>
                </c:pt>
                <c:pt idx="90">
                  <c:v>1197.6883497647852</c:v>
                </c:pt>
                <c:pt idx="91">
                  <c:v>1218.0833600938186</c:v>
                </c:pt>
                <c:pt idx="92">
                  <c:v>1238.1111454578618</c:v>
                </c:pt>
                <c:pt idx="93">
                  <c:v>1257.7600504727081</c:v>
                </c:pt>
                <c:pt idx="94">
                  <c:v>1277.0196090548238</c:v>
                </c:pt>
                <c:pt idx="95">
                  <c:v>1295.8805396186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84.47423387434961</c:v>
                </c:pt>
                <c:pt idx="43">
                  <c:v>199.45363270237692</c:v>
                </c:pt>
                <c:pt idx="44">
                  <c:v>214.9647892788696</c:v>
                </c:pt>
                <c:pt idx="45">
                  <c:v>231.09647909264939</c:v>
                </c:pt>
                <c:pt idx="46">
                  <c:v>247.8926177673527</c:v>
                </c:pt>
                <c:pt idx="47">
                  <c:v>265.30752894908721</c:v>
                </c:pt>
                <c:pt idx="48">
                  <c:v>283.36976897736417</c:v>
                </c:pt>
                <c:pt idx="49">
                  <c:v>302.05041634189598</c:v>
                </c:pt>
                <c:pt idx="50">
                  <c:v>321.33300973074461</c:v>
                </c:pt>
                <c:pt idx="51">
                  <c:v>341.2693900672499</c:v>
                </c:pt>
                <c:pt idx="52">
                  <c:v>361.83178279281549</c:v>
                </c:pt>
                <c:pt idx="53">
                  <c:v>383.02391747412776</c:v>
                </c:pt>
                <c:pt idx="54">
                  <c:v>404.90503485347813</c:v>
                </c:pt>
                <c:pt idx="55">
                  <c:v>427.42363743334852</c:v>
                </c:pt>
                <c:pt idx="56">
                  <c:v>450.56812758029258</c:v>
                </c:pt>
                <c:pt idx="57">
                  <c:v>474.3597047767725</c:v>
                </c:pt>
                <c:pt idx="58">
                  <c:v>498.77360560739237</c:v>
                </c:pt>
                <c:pt idx="59">
                  <c:v>523.79233985884139</c:v>
                </c:pt>
                <c:pt idx="60">
                  <c:v>549.42155972799992</c:v>
                </c:pt>
                <c:pt idx="61">
                  <c:v>575.64496976480837</c:v>
                </c:pt>
                <c:pt idx="62">
                  <c:v>602.4328897646426</c:v>
                </c:pt>
                <c:pt idx="63">
                  <c:v>629.75845259705102</c:v>
                </c:pt>
                <c:pt idx="64">
                  <c:v>657.60792957188346</c:v>
                </c:pt>
                <c:pt idx="65">
                  <c:v>685.93497114584659</c:v>
                </c:pt>
                <c:pt idx="66">
                  <c:v>714.71634110931871</c:v>
                </c:pt>
                <c:pt idx="67">
                  <c:v>743.94699961145818</c:v>
                </c:pt>
                <c:pt idx="68">
                  <c:v>773.56586681786769</c:v>
                </c:pt>
                <c:pt idx="69">
                  <c:v>803.54394302428852</c:v>
                </c:pt>
                <c:pt idx="70">
                  <c:v>833.84264092650369</c:v>
                </c:pt>
                <c:pt idx="71">
                  <c:v>864.42158443583992</c:v>
                </c:pt>
                <c:pt idx="72">
                  <c:v>895.23937737507731</c:v>
                </c:pt>
                <c:pt idx="73">
                  <c:v>926.25372250308396</c:v>
                </c:pt>
                <c:pt idx="74">
                  <c:v>957.42134274287548</c:v>
                </c:pt>
                <c:pt idx="75">
                  <c:v>988.69816090469885</c:v>
                </c:pt>
                <c:pt idx="76">
                  <c:v>1020.0395588583361</c:v>
                </c:pt>
                <c:pt idx="77">
                  <c:v>1051.4006328907333</c:v>
                </c:pt>
                <c:pt idx="78">
                  <c:v>1082.7365184050498</c:v>
                </c:pt>
                <c:pt idx="79">
                  <c:v>1114.0026543095714</c:v>
                </c:pt>
                <c:pt idx="80">
                  <c:v>1145.1550066621642</c:v>
                </c:pt>
                <c:pt idx="81">
                  <c:v>1176.1502891989219</c:v>
                </c:pt>
                <c:pt idx="82">
                  <c:v>1206.9461722394424</c:v>
                </c:pt>
                <c:pt idx="83">
                  <c:v>1237.5014780324211</c:v>
                </c:pt>
                <c:pt idx="84">
                  <c:v>1267.7763795974133</c:v>
                </c:pt>
                <c:pt idx="85">
                  <c:v>1297.7325860015333</c:v>
                </c:pt>
                <c:pt idx="86">
                  <c:v>1327.3335039710746</c:v>
                </c:pt>
                <c:pt idx="87">
                  <c:v>1356.5443865207153</c:v>
                </c:pt>
                <c:pt idx="88">
                  <c:v>1385.3324652076251</c:v>
                </c:pt>
                <c:pt idx="89">
                  <c:v>1413.6670545786774</c:v>
                </c:pt>
                <c:pt idx="90">
                  <c:v>1441.5196361273543</c:v>
                </c:pt>
                <c:pt idx="91">
                  <c:v>1468.8639328650972</c:v>
                </c:pt>
                <c:pt idx="92">
                  <c:v>1495.6759605141576</c:v>
                </c:pt>
                <c:pt idx="93">
                  <c:v>1521.9340566925748</c:v>
                </c:pt>
                <c:pt idx="94">
                  <c:v>1547.6188983967916</c:v>
                </c:pt>
                <c:pt idx="95">
                  <c:v>1572.71349882406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3</c:v>
                </c:pt>
                <c:pt idx="1">
                  <c:v>24</c:v>
                </c:pt>
                <c:pt idx="2">
                  <c:v>25</c:v>
                </c:pt>
                <c:pt idx="3">
                  <c:v>27</c:v>
                </c:pt>
                <c:pt idx="4">
                  <c:v>29</c:v>
                </c:pt>
                <c:pt idx="5">
                  <c:v>30</c:v>
                </c:pt>
                <c:pt idx="6">
                  <c:v>31</c:v>
                </c:pt>
                <c:pt idx="7">
                  <c:v>35</c:v>
                </c:pt>
                <c:pt idx="8">
                  <c:v>36</c:v>
                </c:pt>
                <c:pt idx="9">
                  <c:v>36</c:v>
                </c:pt>
                <c:pt idx="10">
                  <c:v>37</c:v>
                </c:pt>
                <c:pt idx="11">
                  <c:v>40</c:v>
                </c:pt>
                <c:pt idx="12">
                  <c:v>42</c:v>
                </c:pt>
                <c:pt idx="13">
                  <c:v>43</c:v>
                </c:pt>
                <c:pt idx="14">
                  <c:v>48</c:v>
                </c:pt>
                <c:pt idx="15">
                  <c:v>51</c:v>
                </c:pt>
                <c:pt idx="16">
                  <c:v>52</c:v>
                </c:pt>
                <c:pt idx="17">
                  <c:v>60</c:v>
                </c:pt>
                <c:pt idx="18">
                  <c:v>65</c:v>
                </c:pt>
                <c:pt idx="19">
                  <c:v>73</c:v>
                </c:pt>
                <c:pt idx="20">
                  <c:v>83</c:v>
                </c:pt>
                <c:pt idx="21">
                  <c:v>98</c:v>
                </c:pt>
                <c:pt idx="22">
                  <c:v>100</c:v>
                </c:pt>
                <c:pt idx="23">
                  <c:v>103</c:v>
                </c:pt>
                <c:pt idx="24">
                  <c:v>136</c:v>
                </c:pt>
                <c:pt idx="25">
                  <c:v>148</c:v>
                </c:pt>
                <c:pt idx="26">
                  <c:v>158</c:v>
                </c:pt>
                <c:pt idx="27">
                  <c:v>163</c:v>
                </c:pt>
                <c:pt idx="28">
                  <c:v>177</c:v>
                </c:pt>
                <c:pt idx="29">
                  <c:v>183</c:v>
                </c:pt>
                <c:pt idx="30">
                  <c:v>189</c:v>
                </c:pt>
                <c:pt idx="31">
                  <c:v>205</c:v>
                </c:pt>
                <c:pt idx="32">
                  <c:v>217</c:v>
                </c:pt>
                <c:pt idx="33">
                  <c:v>233</c:v>
                </c:pt>
                <c:pt idx="34">
                  <c:v>249</c:v>
                </c:pt>
                <c:pt idx="35">
                  <c:v>268</c:v>
                </c:pt>
                <c:pt idx="36">
                  <c:v>282</c:v>
                </c:pt>
                <c:pt idx="37">
                  <c:v>289</c:v>
                </c:pt>
                <c:pt idx="38">
                  <c:v>319</c:v>
                </c:pt>
                <c:pt idx="39">
                  <c:v>351</c:v>
                </c:pt>
                <c:pt idx="40">
                  <c:v>377</c:v>
                </c:pt>
                <c:pt idx="41">
                  <c:v>392</c:v>
                </c:pt>
                <c:pt idx="42">
                  <c:v>421</c:v>
                </c:pt>
                <c:pt idx="43">
                  <c:v>437</c:v>
                </c:pt>
                <c:pt idx="44">
                  <c:v>449</c:v>
                </c:pt>
                <c:pt idx="45">
                  <c:v>483</c:v>
                </c:pt>
                <c:pt idx="46">
                  <c:v>516</c:v>
                </c:pt>
                <c:pt idx="47">
                  <c:v>529</c:v>
                </c:pt>
                <c:pt idx="48">
                  <c:v>559</c:v>
                </c:pt>
                <c:pt idx="49">
                  <c:v>598</c:v>
                </c:pt>
                <c:pt idx="50">
                  <c:v>6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06.31037044928883</c:v>
                </c:pt>
                <c:pt idx="43">
                  <c:v>426.02153552381736</c:v>
                </c:pt>
                <c:pt idx="44">
                  <c:v>446.14235924305393</c:v>
                </c:pt>
                <c:pt idx="45">
                  <c:v>466.75815435252105</c:v>
                </c:pt>
                <c:pt idx="46">
                  <c:v>487.89226251201268</c:v>
                </c:pt>
                <c:pt idx="47">
                  <c:v>509.43238741999079</c:v>
                </c:pt>
                <c:pt idx="48">
                  <c:v>531.37819022793985</c:v>
                </c:pt>
                <c:pt idx="49">
                  <c:v>553.64745374491815</c:v>
                </c:pt>
                <c:pt idx="50">
                  <c:v>576.19876267092536</c:v>
                </c:pt>
                <c:pt idx="51">
                  <c:v>599.07970839098766</c:v>
                </c:pt>
                <c:pt idx="52">
                  <c:v>622.21878669064176</c:v>
                </c:pt>
                <c:pt idx="53">
                  <c:v>645.60519042952012</c:v>
                </c:pt>
                <c:pt idx="54">
                  <c:v>669.29966895449843</c:v>
                </c:pt>
                <c:pt idx="55">
                  <c:v>693.21615570022868</c:v>
                </c:pt>
                <c:pt idx="56">
                  <c:v>717.32585661148778</c:v>
                </c:pt>
                <c:pt idx="57">
                  <c:v>741.64997463803718</c:v>
                </c:pt>
                <c:pt idx="58">
                  <c:v>766.14947521674264</c:v>
                </c:pt>
                <c:pt idx="59">
                  <c:v>790.7917545425679</c:v>
                </c:pt>
                <c:pt idx="60">
                  <c:v>815.58137992457819</c:v>
                </c:pt>
                <c:pt idx="61">
                  <c:v>840.50890434851988</c:v>
                </c:pt>
                <c:pt idx="62">
                  <c:v>865.53459843410894</c:v>
                </c:pt>
                <c:pt idx="63">
                  <c:v>890.63206190117808</c:v>
                </c:pt>
                <c:pt idx="64">
                  <c:v>915.80025509871007</c:v>
                </c:pt>
                <c:pt idx="65">
                  <c:v>940.99168487332327</c:v>
                </c:pt>
                <c:pt idx="66">
                  <c:v>966.19173818928516</c:v>
                </c:pt>
                <c:pt idx="67">
                  <c:v>991.41135538277967</c:v>
                </c:pt>
                <c:pt idx="68">
                  <c:v>1016.5969784093236</c:v>
                </c:pt>
                <c:pt idx="69">
                  <c:v>1041.7362464790467</c:v>
                </c:pt>
                <c:pt idx="70">
                  <c:v>1066.8077852970985</c:v>
                </c:pt>
                <c:pt idx="71">
                  <c:v>1091.7903193086513</c:v>
                </c:pt>
                <c:pt idx="72">
                  <c:v>1116.663164667488</c:v>
                </c:pt>
                <c:pt idx="73">
                  <c:v>1141.4062233888319</c:v>
                </c:pt>
                <c:pt idx="74">
                  <c:v>1165.9998207530941</c:v>
                </c:pt>
                <c:pt idx="75">
                  <c:v>1190.4247157164612</c:v>
                </c:pt>
                <c:pt idx="76">
                  <c:v>1214.6621655186646</c:v>
                </c:pt>
                <c:pt idx="77">
                  <c:v>1238.6939834864279</c:v>
                </c:pt>
                <c:pt idx="78">
                  <c:v>1262.5026371614531</c:v>
                </c:pt>
                <c:pt idx="79">
                  <c:v>1286.0713063299645</c:v>
                </c:pt>
                <c:pt idx="80">
                  <c:v>1309.3839097181612</c:v>
                </c:pt>
                <c:pt idx="81">
                  <c:v>1332.4251310312716</c:v>
                </c:pt>
                <c:pt idx="82">
                  <c:v>1355.1804369496472</c:v>
                </c:pt>
                <c:pt idx="83">
                  <c:v>1377.6360890267829</c:v>
                </c:pt>
                <c:pt idx="84">
                  <c:v>1399.7791669017638</c:v>
                </c:pt>
                <c:pt idx="85">
                  <c:v>1421.5975872061365</c:v>
                </c:pt>
                <c:pt idx="86">
                  <c:v>1443.0801119077089</c:v>
                </c:pt>
                <c:pt idx="87">
                  <c:v>1464.2163579247429</c:v>
                </c:pt>
                <c:pt idx="88">
                  <c:v>1484.9968051346832</c:v>
                </c:pt>
                <c:pt idx="89">
                  <c:v>1505.4127932268075</c:v>
                </c:pt>
                <c:pt idx="90">
                  <c:v>1525.456513535561</c:v>
                </c:pt>
                <c:pt idx="91">
                  <c:v>1545.1210074102651</c:v>
                </c:pt>
                <c:pt idx="92">
                  <c:v>1564.4001567523444</c:v>
                </c:pt>
                <c:pt idx="93">
                  <c:v>1583.2886688695735</c:v>
                </c:pt>
                <c:pt idx="94">
                  <c:v>1601.7820640439536</c:v>
                </c:pt>
                <c:pt idx="95">
                  <c:v>1619.87665849895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06.7067395394339</c:v>
                </c:pt>
                <c:pt idx="43">
                  <c:v>426.97297675527295</c:v>
                </c:pt>
                <c:pt idx="44">
                  <c:v>447.82630740846758</c:v>
                </c:pt>
                <c:pt idx="45">
                  <c:v>469.37009725632197</c:v>
                </c:pt>
                <c:pt idx="46">
                  <c:v>491.64511701715389</c:v>
                </c:pt>
                <c:pt idx="47">
                  <c:v>514.55555248690962</c:v>
                </c:pt>
                <c:pt idx="48">
                  <c:v>538.11534966746194</c:v>
                </c:pt>
                <c:pt idx="49">
                  <c:v>562.25500364864115</c:v>
                </c:pt>
                <c:pt idx="50">
                  <c:v>586.94406915003401</c:v>
                </c:pt>
                <c:pt idx="51">
                  <c:v>612.23960772667897</c:v>
                </c:pt>
                <c:pt idx="52">
                  <c:v>638.07857745431704</c:v>
                </c:pt>
                <c:pt idx="53">
                  <c:v>664.45712195005081</c:v>
                </c:pt>
                <c:pt idx="54">
                  <c:v>691.44162237747958</c:v>
                </c:pt>
                <c:pt idx="55">
                  <c:v>718.95037857234956</c:v>
                </c:pt>
                <c:pt idx="56">
                  <c:v>746.95760578427053</c:v>
                </c:pt>
                <c:pt idx="57">
                  <c:v>775.48611667264129</c:v>
                </c:pt>
                <c:pt idx="58">
                  <c:v>804.49732331895711</c:v>
                </c:pt>
                <c:pt idx="59">
                  <c:v>833.95785962044999</c:v>
                </c:pt>
                <c:pt idx="60">
                  <c:v>863.87007921703832</c:v>
                </c:pt>
                <c:pt idx="61">
                  <c:v>894.22091012252315</c:v>
                </c:pt>
                <c:pt idx="62">
                  <c:v>924.96573613977205</c:v>
                </c:pt>
                <c:pt idx="63">
                  <c:v>956.07186487070101</c:v>
                </c:pt>
                <c:pt idx="64">
                  <c:v>987.53061093711221</c:v>
                </c:pt>
                <c:pt idx="65">
                  <c:v>1019.2860280701944</c:v>
                </c:pt>
                <c:pt idx="66">
                  <c:v>1051.3140949991696</c:v>
                </c:pt>
                <c:pt idx="67">
                  <c:v>1083.6150171502231</c:v>
                </c:pt>
                <c:pt idx="68">
                  <c:v>1116.1234397928156</c:v>
                </c:pt>
                <c:pt idx="69">
                  <c:v>1148.8140750935793</c:v>
                </c:pt>
                <c:pt idx="70">
                  <c:v>1181.6516556448873</c:v>
                </c:pt>
                <c:pt idx="71">
                  <c:v>1214.6001439521867</c:v>
                </c:pt>
                <c:pt idx="72">
                  <c:v>1247.6234878077048</c:v>
                </c:pt>
                <c:pt idx="73">
                  <c:v>1280.6856795278511</c:v>
                </c:pt>
                <c:pt idx="74">
                  <c:v>1313.7505991242037</c:v>
                </c:pt>
                <c:pt idx="75">
                  <c:v>1346.7821049434053</c:v>
                </c:pt>
                <c:pt idx="76">
                  <c:v>1379.7442019781674</c:v>
                </c:pt>
                <c:pt idx="77">
                  <c:v>1412.6012009302867</c:v>
                </c:pt>
                <c:pt idx="78">
                  <c:v>1445.3179363244719</c:v>
                </c:pt>
                <c:pt idx="79">
                  <c:v>1477.8599286138365</c:v>
                </c:pt>
                <c:pt idx="80">
                  <c:v>1510.1935017116878</c:v>
                </c:pt>
                <c:pt idx="81">
                  <c:v>1542.285897932439</c:v>
                </c:pt>
                <c:pt idx="82">
                  <c:v>1574.1053805119852</c:v>
                </c:pt>
                <c:pt idx="83">
                  <c:v>1605.6213253871676</c:v>
                </c:pt>
                <c:pt idx="84">
                  <c:v>1636.8043243432771</c:v>
                </c:pt>
                <c:pt idx="85">
                  <c:v>1667.6262785531769</c:v>
                </c:pt>
                <c:pt idx="86">
                  <c:v>1698.0604734154724</c:v>
                </c:pt>
                <c:pt idx="87">
                  <c:v>1728.0816499134744</c:v>
                </c:pt>
                <c:pt idx="88">
                  <c:v>1757.6660688434204</c:v>
                </c:pt>
                <c:pt idx="89">
                  <c:v>1786.7915544357629</c:v>
                </c:pt>
                <c:pt idx="90">
                  <c:v>1815.4375252240782</c:v>
                </c:pt>
                <c:pt idx="91">
                  <c:v>1843.5850283626132</c:v>
                </c:pt>
                <c:pt idx="92">
                  <c:v>1871.2167574344228</c:v>
                </c:pt>
                <c:pt idx="93">
                  <c:v>1898.3170568502087</c:v>
                </c:pt>
                <c:pt idx="94">
                  <c:v>1924.8719244327719</c:v>
                </c:pt>
                <c:pt idx="95">
                  <c:v>1950.86900254824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07.10563571005088</c:v>
                </c:pt>
                <c:pt idx="43">
                  <c:v>427.93353973619355</c:v>
                </c:pt>
                <c:pt idx="44">
                  <c:v>449.5327503001904</c:v>
                </c:pt>
                <c:pt idx="45">
                  <c:v>472.0279298553919</c:v>
                </c:pt>
                <c:pt idx="46">
                  <c:v>495.48099441871477</c:v>
                </c:pt>
                <c:pt idx="47">
                  <c:v>519.81675447180032</c:v>
                </c:pt>
                <c:pt idx="48">
                  <c:v>545.06796528006078</c:v>
                </c:pt>
                <c:pt idx="49">
                  <c:v>571.18268674771332</c:v>
                </c:pt>
                <c:pt idx="50">
                  <c:v>598.14654649560032</c:v>
                </c:pt>
                <c:pt idx="51">
                  <c:v>626.0313646736671</c:v>
                </c:pt>
                <c:pt idx="52">
                  <c:v>654.78795309587827</c:v>
                </c:pt>
                <c:pt idx="53">
                  <c:v>684.42479617238155</c:v>
                </c:pt>
                <c:pt idx="54">
                  <c:v>715.01921353785974</c:v>
                </c:pt>
                <c:pt idx="55">
                  <c:v>746.49900171872321</c:v>
                </c:pt>
                <c:pt idx="56">
                  <c:v>778.84628131355669</c:v>
                </c:pt>
                <c:pt idx="57">
                  <c:v>812.09002371240922</c:v>
                </c:pt>
                <c:pt idx="58">
                  <c:v>846.19623949606728</c:v>
                </c:pt>
                <c:pt idx="59">
                  <c:v>881.13447514391055</c:v>
                </c:pt>
                <c:pt idx="60">
                  <c:v>916.90793869630897</c:v>
                </c:pt>
                <c:pt idx="61">
                  <c:v>953.50232744305242</c:v>
                </c:pt>
                <c:pt idx="62">
                  <c:v>990.86978433414731</c:v>
                </c:pt>
                <c:pt idx="63">
                  <c:v>1028.9721847688654</c:v>
                </c:pt>
                <c:pt idx="64">
                  <c:v>1067.7932212154583</c:v>
                </c:pt>
                <c:pt idx="65">
                  <c:v>1107.2677284743556</c:v>
                </c:pt>
                <c:pt idx="66">
                  <c:v>1147.3606975060229</c:v>
                </c:pt>
                <c:pt idx="67">
                  <c:v>1188.0590914158599</c:v>
                </c:pt>
                <c:pt idx="68">
                  <c:v>1229.282346169387</c:v>
                </c:pt>
                <c:pt idx="69">
                  <c:v>1270.9879452778662</c:v>
                </c:pt>
                <c:pt idx="70">
                  <c:v>1313.1215790477972</c:v>
                </c:pt>
                <c:pt idx="71">
                  <c:v>1355.6264926092015</c:v>
                </c:pt>
                <c:pt idx="72">
                  <c:v>1398.4445952309261</c:v>
                </c:pt>
                <c:pt idx="73">
                  <c:v>1441.5166414726882</c:v>
                </c:pt>
                <c:pt idx="74">
                  <c:v>1484.78213341632</c:v>
                </c:pt>
                <c:pt idx="75">
                  <c:v>1528.1795705586164</c:v>
                </c:pt>
                <c:pt idx="76">
                  <c:v>1571.6468131962054</c:v>
                </c:pt>
                <c:pt idx="77">
                  <c:v>1615.1214387747555</c:v>
                </c:pt>
                <c:pt idx="78">
                  <c:v>1658.5411844277517</c:v>
                </c:pt>
                <c:pt idx="79">
                  <c:v>1701.8443162128037</c:v>
                </c:pt>
                <c:pt idx="80">
                  <c:v>1744.9699388955637</c:v>
                </c:pt>
                <c:pt idx="81">
                  <c:v>1787.8583003739304</c:v>
                </c:pt>
                <c:pt idx="82">
                  <c:v>1830.451076470318</c:v>
                </c:pt>
                <c:pt idx="83">
                  <c:v>1872.6916361094525</c:v>
                </c:pt>
                <c:pt idx="84">
                  <c:v>1914.5253134205943</c:v>
                </c:pt>
                <c:pt idx="85">
                  <c:v>1955.8996581873639</c:v>
                </c:pt>
                <c:pt idx="86">
                  <c:v>1996.7646512044885</c:v>
                </c:pt>
                <c:pt idx="87">
                  <c:v>2037.0729030382631</c:v>
                </c:pt>
                <c:pt idx="88">
                  <c:v>2076.7798311013307</c:v>
                </c:pt>
                <c:pt idx="89">
                  <c:v>2115.843796319326</c:v>
                </c:pt>
                <c:pt idx="90">
                  <c:v>2154.2262090981485</c:v>
                </c:pt>
                <c:pt idx="91">
                  <c:v>2191.8916264895215</c:v>
                </c:pt>
                <c:pt idx="92">
                  <c:v>2228.8078138446003</c:v>
                </c:pt>
                <c:pt idx="93">
                  <c:v>2264.945775522076</c:v>
                </c:pt>
                <c:pt idx="94">
                  <c:v>2300.2797705676126</c:v>
                </c:pt>
                <c:pt idx="95">
                  <c:v>2334.78730139077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9</c:v>
                </c:pt>
                <c:pt idx="1">
                  <c:v>39</c:v>
                </c:pt>
                <c:pt idx="2">
                  <c:v>39</c:v>
                </c:pt>
                <c:pt idx="3">
                  <c:v>40</c:v>
                </c:pt>
                <c:pt idx="4">
                  <c:v>41</c:v>
                </c:pt>
                <c:pt idx="5">
                  <c:v>41</c:v>
                </c:pt>
                <c:pt idx="6">
                  <c:v>43</c:v>
                </c:pt>
                <c:pt idx="7">
                  <c:v>44</c:v>
                </c:pt>
                <c:pt idx="8">
                  <c:v>45</c:v>
                </c:pt>
                <c:pt idx="9">
                  <c:v>45</c:v>
                </c:pt>
                <c:pt idx="10">
                  <c:v>48</c:v>
                </c:pt>
                <c:pt idx="11">
                  <c:v>52</c:v>
                </c:pt>
                <c:pt idx="12">
                  <c:v>53</c:v>
                </c:pt>
                <c:pt idx="13">
                  <c:v>55</c:v>
                </c:pt>
                <c:pt idx="14">
                  <c:v>57</c:v>
                </c:pt>
                <c:pt idx="15">
                  <c:v>59</c:v>
                </c:pt>
                <c:pt idx="16">
                  <c:v>59</c:v>
                </c:pt>
                <c:pt idx="17">
                  <c:v>61</c:v>
                </c:pt>
                <c:pt idx="18">
                  <c:v>64</c:v>
                </c:pt>
                <c:pt idx="19">
                  <c:v>66</c:v>
                </c:pt>
                <c:pt idx="20">
                  <c:v>73</c:v>
                </c:pt>
                <c:pt idx="21">
                  <c:v>84</c:v>
                </c:pt>
                <c:pt idx="22">
                  <c:v>89</c:v>
                </c:pt>
                <c:pt idx="23">
                  <c:v>90</c:v>
                </c:pt>
                <c:pt idx="24">
                  <c:v>97</c:v>
                </c:pt>
                <c:pt idx="25">
                  <c:v>112</c:v>
                </c:pt>
                <c:pt idx="26">
                  <c:v>121</c:v>
                </c:pt>
                <c:pt idx="27">
                  <c:v>136</c:v>
                </c:pt>
                <c:pt idx="28">
                  <c:v>157</c:v>
                </c:pt>
                <c:pt idx="29">
                  <c:v>162</c:v>
                </c:pt>
                <c:pt idx="30">
                  <c:v>168</c:v>
                </c:pt>
                <c:pt idx="31">
                  <c:v>181</c:v>
                </c:pt>
                <c:pt idx="32">
                  <c:v>187</c:v>
                </c:pt>
                <c:pt idx="33">
                  <c:v>209</c:v>
                </c:pt>
                <c:pt idx="34">
                  <c:v>224</c:v>
                </c:pt>
                <c:pt idx="35">
                  <c:v>240</c:v>
                </c:pt>
                <c:pt idx="36">
                  <c:v>251</c:v>
                </c:pt>
                <c:pt idx="37">
                  <c:v>262</c:v>
                </c:pt>
                <c:pt idx="38">
                  <c:v>283</c:v>
                </c:pt>
                <c:pt idx="39">
                  <c:v>303</c:v>
                </c:pt>
                <c:pt idx="40">
                  <c:v>320</c:v>
                </c:pt>
                <c:pt idx="41">
                  <c:v>346</c:v>
                </c:pt>
                <c:pt idx="42">
                  <c:v>372</c:v>
                </c:pt>
                <c:pt idx="43">
                  <c:v>411</c:v>
                </c:pt>
                <c:pt idx="44">
                  <c:v>432</c:v>
                </c:pt>
                <c:pt idx="45">
                  <c:v>455</c:v>
                </c:pt>
                <c:pt idx="46">
                  <c:v>475</c:v>
                </c:pt>
                <c:pt idx="47">
                  <c:v>485</c:v>
                </c:pt>
                <c:pt idx="48">
                  <c:v>511</c:v>
                </c:pt>
                <c:pt idx="49">
                  <c:v>544</c:v>
                </c:pt>
                <c:pt idx="50">
                  <c:v>5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51.39651340019685</c:v>
                </c:pt>
                <c:pt idx="43">
                  <c:v>370.20270852581996</c:v>
                </c:pt>
                <c:pt idx="44">
                  <c:v>389.4503733960853</c:v>
                </c:pt>
                <c:pt idx="45">
                  <c:v>409.22240254374424</c:v>
                </c:pt>
                <c:pt idx="46">
                  <c:v>429.54177368452196</c:v>
                </c:pt>
                <c:pt idx="47">
                  <c:v>450.27655006877467</c:v>
                </c:pt>
                <c:pt idx="48">
                  <c:v>471.41256353559072</c:v>
                </c:pt>
                <c:pt idx="49">
                  <c:v>492.84805215583856</c:v>
                </c:pt>
                <c:pt idx="50">
                  <c:v>514.56215974370707</c:v>
                </c:pt>
                <c:pt idx="51">
                  <c:v>536.60150361533488</c:v>
                </c:pt>
                <c:pt idx="52">
                  <c:v>558.87770771771079</c:v>
                </c:pt>
                <c:pt idx="53">
                  <c:v>581.38910461852925</c:v>
                </c:pt>
                <c:pt idx="54">
                  <c:v>604.18540031604516</c:v>
                </c:pt>
                <c:pt idx="55">
                  <c:v>627.18512465677611</c:v>
                </c:pt>
                <c:pt idx="56">
                  <c:v>650.35933902956913</c:v>
                </c:pt>
                <c:pt idx="57">
                  <c:v>673.7294887224765</c:v>
                </c:pt>
                <c:pt idx="58">
                  <c:v>697.26129022913915</c:v>
                </c:pt>
                <c:pt idx="59">
                  <c:v>720.91321468704905</c:v>
                </c:pt>
                <c:pt idx="60">
                  <c:v>744.68232971031853</c:v>
                </c:pt>
                <c:pt idx="61">
                  <c:v>768.57881229266786</c:v>
                </c:pt>
                <c:pt idx="62">
                  <c:v>792.55319827474182</c:v>
                </c:pt>
                <c:pt idx="63">
                  <c:v>816.58071150151818</c:v>
                </c:pt>
                <c:pt idx="64">
                  <c:v>840.66813602368904</c:v>
                </c:pt>
                <c:pt idx="65">
                  <c:v>864.77051453261186</c:v>
                </c:pt>
                <c:pt idx="66">
                  <c:v>888.87027527624014</c:v>
                </c:pt>
                <c:pt idx="67">
                  <c:v>912.96742006743841</c:v>
                </c:pt>
                <c:pt idx="68">
                  <c:v>937.02139890750686</c:v>
                </c:pt>
                <c:pt idx="69">
                  <c:v>961.01753542574602</c:v>
                </c:pt>
                <c:pt idx="70">
                  <c:v>984.93553099373059</c:v>
                </c:pt>
                <c:pt idx="71">
                  <c:v>1008.7551707183942</c:v>
                </c:pt>
                <c:pt idx="72">
                  <c:v>1032.4568301680638</c:v>
                </c:pt>
                <c:pt idx="73">
                  <c:v>1056.0214810412253</c:v>
                </c:pt>
                <c:pt idx="74">
                  <c:v>1079.4305440475055</c:v>
                </c:pt>
                <c:pt idx="75">
                  <c:v>1102.665894268589</c:v>
                </c:pt>
                <c:pt idx="76">
                  <c:v>1125.7099222745046</c:v>
                </c:pt>
                <c:pt idx="77">
                  <c:v>1148.5455880509367</c:v>
                </c:pt>
                <c:pt idx="78">
                  <c:v>1171.1565038121039</c:v>
                </c:pt>
                <c:pt idx="79">
                  <c:v>1193.5269901069828</c:v>
                </c:pt>
                <c:pt idx="80">
                  <c:v>1215.6420999163224</c:v>
                </c:pt>
                <c:pt idx="81">
                  <c:v>1237.4876427002719</c:v>
                </c:pt>
                <c:pt idx="82">
                  <c:v>1259.0501979102478</c:v>
                </c:pt>
                <c:pt idx="83">
                  <c:v>1280.3171223659515</c:v>
                </c:pt>
                <c:pt idx="84">
                  <c:v>1301.2765720619439</c:v>
                </c:pt>
                <c:pt idx="85">
                  <c:v>1321.9175171755692</c:v>
                </c:pt>
                <c:pt idx="86">
                  <c:v>1342.2297455135335</c:v>
                </c:pt>
                <c:pt idx="87">
                  <c:v>1362.2038692883691</c:v>
                </c:pt>
                <c:pt idx="88">
                  <c:v>1381.8313321465082</c:v>
                </c:pt>
                <c:pt idx="89">
                  <c:v>1401.1044040057791</c:v>
                </c:pt>
                <c:pt idx="90">
                  <c:v>1420.0161687266102</c:v>
                </c:pt>
                <c:pt idx="91">
                  <c:v>1438.5605228840573</c:v>
                </c:pt>
                <c:pt idx="92">
                  <c:v>1456.7321636927579</c:v>
                </c:pt>
                <c:pt idx="93">
                  <c:v>1474.5265710417996</c:v>
                </c:pt>
                <c:pt idx="94">
                  <c:v>1491.9399932886222</c:v>
                </c:pt>
                <c:pt idx="95">
                  <c:v>1508.96943028888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51.79309640180338</c:v>
                </c:pt>
                <c:pt idx="43">
                  <c:v>371.15472665900666</c:v>
                </c:pt>
                <c:pt idx="44">
                  <c:v>391.13518825305584</c:v>
                </c:pt>
                <c:pt idx="45">
                  <c:v>411.83518715791229</c:v>
                </c:pt>
                <c:pt idx="46">
                  <c:v>433.29485194531168</c:v>
                </c:pt>
                <c:pt idx="47">
                  <c:v>455.39829032137641</c:v>
                </c:pt>
                <c:pt idx="48">
                  <c:v>478.14476644480408</c:v>
                </c:pt>
                <c:pt idx="49">
                  <c:v>501.44421569170623</c:v>
                </c:pt>
                <c:pt idx="50">
                  <c:v>525.28553238121617</c:v>
                </c:pt>
                <c:pt idx="51">
                  <c:v>549.72354624055731</c:v>
                </c:pt>
                <c:pt idx="52">
                  <c:v>574.67716860405619</c:v>
                </c:pt>
                <c:pt idx="53">
                  <c:v>600.15041667508387</c:v>
                </c:pt>
                <c:pt idx="54">
                  <c:v>626.19746459496946</c:v>
                </c:pt>
                <c:pt idx="55">
                  <c:v>652.74003250211035</c:v>
                </c:pt>
                <c:pt idx="56">
                  <c:v>679.75104731533816</c:v>
                </c:pt>
                <c:pt idx="57">
                  <c:v>707.25250204302461</c:v>
                </c:pt>
                <c:pt idx="58">
                  <c:v>735.2095916985179</c:v>
                </c:pt>
                <c:pt idx="59">
                  <c:v>763.5791217711901</c:v>
                </c:pt>
                <c:pt idx="60">
                  <c:v>792.35512109285764</c:v>
                </c:pt>
                <c:pt idx="61">
                  <c:v>821.5434049138164</c:v>
                </c:pt>
                <c:pt idx="62">
                  <c:v>851.08905286497384</c:v>
                </c:pt>
                <c:pt idx="63">
                  <c:v>880.96047158236138</c:v>
                </c:pt>
                <c:pt idx="64">
                  <c:v>911.15631653439073</c:v>
                </c:pt>
                <c:pt idx="65">
                  <c:v>941.62281914862683</c:v>
                </c:pt>
                <c:pt idx="66">
                  <c:v>972.33269779583338</c:v>
                </c:pt>
                <c:pt idx="67">
                  <c:v>1003.2750136730745</c:v>
                </c:pt>
                <c:pt idx="68">
                  <c:v>1034.3972815973741</c:v>
                </c:pt>
                <c:pt idx="69">
                  <c:v>1065.6718788562248</c:v>
                </c:pt>
                <c:pt idx="70">
                  <c:v>1097.0646933736255</c:v>
                </c:pt>
                <c:pt idx="71">
                  <c:v>1128.5409011604982</c:v>
                </c:pt>
                <c:pt idx="72">
                  <c:v>1160.0657425492464</c:v>
                </c:pt>
                <c:pt idx="73">
                  <c:v>1191.6045965975895</c:v>
                </c:pt>
                <c:pt idx="74">
                  <c:v>1223.1228438387761</c:v>
                </c:pt>
                <c:pt idx="75">
                  <c:v>1254.5859482572459</c:v>
                </c:pt>
                <c:pt idx="76">
                  <c:v>1285.959618861946</c:v>
                </c:pt>
                <c:pt idx="77">
                  <c:v>1317.2099608461644</c:v>
                </c:pt>
                <c:pt idx="78">
                  <c:v>1348.3036688647735</c:v>
                </c:pt>
                <c:pt idx="79">
                  <c:v>1379.2081833278048</c:v>
                </c:pt>
                <c:pt idx="80">
                  <c:v>1409.8918007167404</c:v>
                </c:pt>
                <c:pt idx="81">
                  <c:v>1440.3237812271873</c:v>
                </c:pt>
                <c:pt idx="82">
                  <c:v>1470.4744402053045</c:v>
                </c:pt>
                <c:pt idx="83">
                  <c:v>1500.3152288136316</c:v>
                </c:pt>
                <c:pt idx="84">
                  <c:v>1529.8188298279679</c:v>
                </c:pt>
                <c:pt idx="85">
                  <c:v>1558.9592405228057</c:v>
                </c:pt>
                <c:pt idx="86">
                  <c:v>1587.7118351389415</c:v>
                </c:pt>
                <c:pt idx="87">
                  <c:v>1616.0534267498024</c:v>
                </c:pt>
                <c:pt idx="88">
                  <c:v>1643.9623244628744</c:v>
                </c:pt>
                <c:pt idx="89">
                  <c:v>1671.4183686020044</c:v>
                </c:pt>
                <c:pt idx="90">
                  <c:v>1698.4029504344003</c:v>
                </c:pt>
                <c:pt idx="91">
                  <c:v>1724.8990417832813</c:v>
                </c:pt>
                <c:pt idx="92">
                  <c:v>1750.8912042227369</c:v>
                </c:pt>
                <c:pt idx="93">
                  <c:v>1776.3655848082753</c:v>
                </c:pt>
                <c:pt idx="94">
                  <c:v>1801.3099117414167</c:v>
                </c:pt>
                <c:pt idx="95">
                  <c:v>1825.71348141663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52.19217496134843</c:v>
                </c:pt>
                <c:pt idx="43">
                  <c:v>372.11578875903052</c:v>
                </c:pt>
                <c:pt idx="44">
                  <c:v>392.84235687779176</c:v>
                </c:pt>
                <c:pt idx="45">
                  <c:v>414.49362969298846</c:v>
                </c:pt>
                <c:pt idx="46">
                  <c:v>437.13057732020445</c:v>
                </c:pt>
                <c:pt idx="47">
                  <c:v>460.65745004242035</c:v>
                </c:pt>
                <c:pt idx="48">
                  <c:v>485.09140273609984</c:v>
                </c:pt>
                <c:pt idx="49">
                  <c:v>510.35882955173554</c:v>
                </c:pt>
                <c:pt idx="50">
                  <c:v>536.46335383991391</c:v>
                </c:pt>
                <c:pt idx="51">
                  <c:v>563.47314436093416</c:v>
                </c:pt>
                <c:pt idx="52">
                  <c:v>591.31958813933704</c:v>
                </c:pt>
                <c:pt idx="53">
                  <c:v>620.01753015067879</c:v>
                </c:pt>
                <c:pt idx="54">
                  <c:v>649.63062985206182</c:v>
                </c:pt>
                <c:pt idx="55">
                  <c:v>680.08859579738305</c:v>
                </c:pt>
                <c:pt idx="56">
                  <c:v>711.37074766151432</c:v>
                </c:pt>
                <c:pt idx="57">
                  <c:v>743.50376853746059</c:v>
                </c:pt>
                <c:pt idx="58">
                  <c:v>776.45604746211075</c:v>
                </c:pt>
                <c:pt idx="59">
                  <c:v>810.18593947461227</c:v>
                </c:pt>
                <c:pt idx="60">
                  <c:v>844.68702586671577</c:v>
                </c:pt>
                <c:pt idx="61">
                  <c:v>879.96266831068635</c:v>
                </c:pt>
                <c:pt idx="62">
                  <c:v>915.95364757806726</c:v>
                </c:pt>
                <c:pt idx="63">
                  <c:v>952.62192859979268</c:v>
                </c:pt>
                <c:pt idx="64">
                  <c:v>989.95758548728452</c:v>
                </c:pt>
                <c:pt idx="65">
                  <c:v>1027.8968154549384</c:v>
                </c:pt>
                <c:pt idx="66">
                  <c:v>1066.4006206208364</c:v>
                </c:pt>
                <c:pt idx="67">
                  <c:v>1105.4442310368413</c:v>
                </c:pt>
                <c:pt idx="68">
                  <c:v>1144.9594817801828</c:v>
                </c:pt>
                <c:pt idx="69">
                  <c:v>1184.9012263161562</c:v>
                </c:pt>
                <c:pt idx="70">
                  <c:v>1225.2161737559095</c:v>
                </c:pt>
                <c:pt idx="71">
                  <c:v>1265.8487799024012</c:v>
                </c:pt>
                <c:pt idx="72">
                  <c:v>1306.7423910021034</c:v>
                </c:pt>
                <c:pt idx="73">
                  <c:v>1347.8394489680256</c:v>
                </c:pt>
                <c:pt idx="74">
                  <c:v>1389.081421842063</c:v>
                </c:pt>
                <c:pt idx="75">
                  <c:v>1430.4090428367547</c:v>
                </c:pt>
                <c:pt idx="76">
                  <c:v>1471.7626641079612</c:v>
                </c:pt>
                <c:pt idx="77">
                  <c:v>1513.0826002650899</c:v>
                </c:pt>
                <c:pt idx="78">
                  <c:v>1554.3095334703801</c:v>
                </c:pt>
                <c:pt idx="79">
                  <c:v>1595.3848699491998</c:v>
                </c:pt>
                <c:pt idx="80">
                  <c:v>1636.2510339179344</c:v>
                </c:pt>
                <c:pt idx="81">
                  <c:v>1676.8517542891198</c:v>
                </c:pt>
                <c:pt idx="82">
                  <c:v>1717.1323255178431</c:v>
                </c:pt>
                <c:pt idx="83">
                  <c:v>1757.0398481337561</c:v>
                </c:pt>
                <c:pt idx="84">
                  <c:v>1796.5234801056133</c:v>
                </c:pt>
                <c:pt idx="85">
                  <c:v>1835.5346618001072</c:v>
                </c:pt>
                <c:pt idx="86">
                  <c:v>1874.0273029074192</c:v>
                </c:pt>
                <c:pt idx="87">
                  <c:v>1911.9579564589549</c:v>
                </c:pt>
                <c:pt idx="88">
                  <c:v>1949.2859743098256</c:v>
                </c:pt>
                <c:pt idx="89">
                  <c:v>1985.9736204092128</c:v>
                </c:pt>
                <c:pt idx="90">
                  <c:v>2021.9861501983344</c:v>
                </c:pt>
                <c:pt idx="91">
                  <c:v>2057.2918902549077</c:v>
                </c:pt>
                <c:pt idx="92">
                  <c:v>2091.8622778363347</c:v>
                </c:pt>
                <c:pt idx="93">
                  <c:v>2125.671870117314</c:v>
                </c:pt>
                <c:pt idx="94">
                  <c:v>2158.698341586281</c:v>
                </c:pt>
                <c:pt idx="95">
                  <c:v>2190.92245912887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88</c:v>
                </c:pt>
                <c:pt idx="1">
                  <c:v>91</c:v>
                </c:pt>
                <c:pt idx="2">
                  <c:v>96</c:v>
                </c:pt>
                <c:pt idx="3">
                  <c:v>103</c:v>
                </c:pt>
                <c:pt idx="4">
                  <c:v>112</c:v>
                </c:pt>
                <c:pt idx="5">
                  <c:v>125</c:v>
                </c:pt>
                <c:pt idx="6">
                  <c:v>131</c:v>
                </c:pt>
                <c:pt idx="7">
                  <c:v>142</c:v>
                </c:pt>
                <c:pt idx="8">
                  <c:v>148</c:v>
                </c:pt>
                <c:pt idx="9">
                  <c:v>153</c:v>
                </c:pt>
                <c:pt idx="10">
                  <c:v>176</c:v>
                </c:pt>
                <c:pt idx="11">
                  <c:v>189</c:v>
                </c:pt>
                <c:pt idx="12">
                  <c:v>198</c:v>
                </c:pt>
                <c:pt idx="13">
                  <c:v>208</c:v>
                </c:pt>
                <c:pt idx="14">
                  <c:v>223</c:v>
                </c:pt>
                <c:pt idx="15">
                  <c:v>232</c:v>
                </c:pt>
                <c:pt idx="16">
                  <c:v>242</c:v>
                </c:pt>
                <c:pt idx="17">
                  <c:v>267</c:v>
                </c:pt>
                <c:pt idx="18">
                  <c:v>291</c:v>
                </c:pt>
                <c:pt idx="19">
                  <c:v>311</c:v>
                </c:pt>
                <c:pt idx="20">
                  <c:v>331</c:v>
                </c:pt>
                <c:pt idx="21">
                  <c:v>354</c:v>
                </c:pt>
                <c:pt idx="22">
                  <c:v>372</c:v>
                </c:pt>
                <c:pt idx="23">
                  <c:v>390</c:v>
                </c:pt>
                <c:pt idx="24">
                  <c:v>438</c:v>
                </c:pt>
                <c:pt idx="25">
                  <c:v>487</c:v>
                </c:pt>
                <c:pt idx="26">
                  <c:v>541</c:v>
                </c:pt>
                <c:pt idx="27">
                  <c:v>560</c:v>
                </c:pt>
                <c:pt idx="28">
                  <c:v>622</c:v>
                </c:pt>
                <c:pt idx="29">
                  <c:v>649</c:v>
                </c:pt>
                <c:pt idx="30">
                  <c:v>683</c:v>
                </c:pt>
                <c:pt idx="31">
                  <c:v>774</c:v>
                </c:pt>
                <c:pt idx="32">
                  <c:v>830</c:v>
                </c:pt>
                <c:pt idx="33">
                  <c:v>896</c:v>
                </c:pt>
                <c:pt idx="34">
                  <c:v>968</c:v>
                </c:pt>
                <c:pt idx="35">
                  <c:v>1015</c:v>
                </c:pt>
                <c:pt idx="36">
                  <c:v>1063</c:v>
                </c:pt>
                <c:pt idx="37">
                  <c:v>1118</c:v>
                </c:pt>
                <c:pt idx="38">
                  <c:v>1193</c:v>
                </c:pt>
                <c:pt idx="39">
                  <c:v>1299</c:v>
                </c:pt>
                <c:pt idx="40">
                  <c:v>1385</c:v>
                </c:pt>
                <c:pt idx="41">
                  <c:v>1469</c:v>
                </c:pt>
                <c:pt idx="42">
                  <c:v>1539</c:v>
                </c:pt>
                <c:pt idx="43">
                  <c:v>1600</c:v>
                </c:pt>
                <c:pt idx="44">
                  <c:v>1647</c:v>
                </c:pt>
                <c:pt idx="45">
                  <c:v>1760</c:v>
                </c:pt>
                <c:pt idx="46">
                  <c:v>1852</c:v>
                </c:pt>
                <c:pt idx="47">
                  <c:v>1923</c:v>
                </c:pt>
                <c:pt idx="48">
                  <c:v>2018</c:v>
                </c:pt>
                <c:pt idx="49">
                  <c:v>2125</c:v>
                </c:pt>
                <c:pt idx="50">
                  <c:v>21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539.0294581277012</c:v>
                </c:pt>
                <c:pt idx="43">
                  <c:v>1613.5787133730998</c:v>
                </c:pt>
                <c:pt idx="44">
                  <c:v>1689.6846748335875</c:v>
                </c:pt>
                <c:pt idx="45">
                  <c:v>1767.67021977011</c:v>
                </c:pt>
                <c:pt idx="46">
                  <c:v>1847.6237309367223</c:v>
                </c:pt>
                <c:pt idx="47">
                  <c:v>1929.1168972420749</c:v>
                </c:pt>
                <c:pt idx="48">
                  <c:v>2012.1464286455289</c:v>
                </c:pt>
                <c:pt idx="49">
                  <c:v>2096.3979899622277</c:v>
                </c:pt>
                <c:pt idx="50">
                  <c:v>2181.7176517903963</c:v>
                </c:pt>
                <c:pt idx="51">
                  <c:v>2268.2855843511165</c:v>
                </c:pt>
                <c:pt idx="52">
                  <c:v>2355.8284289348394</c:v>
                </c:pt>
                <c:pt idx="53">
                  <c:v>2444.3065659690023</c:v>
                </c:pt>
                <c:pt idx="54">
                  <c:v>2533.9485570520533</c:v>
                </c:pt>
                <c:pt idx="55">
                  <c:v>2624.4289848866915</c:v>
                </c:pt>
                <c:pt idx="56">
                  <c:v>2715.6387352249267</c:v>
                </c:pt>
                <c:pt idx="57">
                  <c:v>2807.6581757519257</c:v>
                </c:pt>
                <c:pt idx="58">
                  <c:v>2900.3401037772328</c:v>
                </c:pt>
                <c:pt idx="59">
                  <c:v>2993.5596970944789</c:v>
                </c:pt>
                <c:pt idx="60">
                  <c:v>3087.3331720767928</c:v>
                </c:pt>
                <c:pt idx="61">
                  <c:v>3181.6275832867341</c:v>
                </c:pt>
                <c:pt idx="62">
                  <c:v>3276.290994077071</c:v>
                </c:pt>
                <c:pt idx="63">
                  <c:v>3371.2236161826022</c:v>
                </c:pt>
                <c:pt idx="64">
                  <c:v>3466.422645624124</c:v>
                </c:pt>
                <c:pt idx="65">
                  <c:v>3561.7085109232303</c:v>
                </c:pt>
                <c:pt idx="66">
                  <c:v>3657.0254178184709</c:v>
                </c:pt>
                <c:pt idx="67">
                  <c:v>3752.4132295714003</c:v>
                </c:pt>
                <c:pt idx="68">
                  <c:v>3847.6709156010306</c:v>
                </c:pt>
                <c:pt idx="69">
                  <c:v>3942.751308127049</c:v>
                </c:pt>
                <c:pt idx="70">
                  <c:v>4037.573581485889</c:v>
                </c:pt>
                <c:pt idx="71">
                  <c:v>4132.0572819378231</c:v>
                </c:pt>
                <c:pt idx="72">
                  <c:v>4226.1241973940851</c:v>
                </c:pt>
                <c:pt idx="73">
                  <c:v>4319.6983369340696</c:v>
                </c:pt>
                <c:pt idx="74">
                  <c:v>4412.7053170152085</c:v>
                </c:pt>
                <c:pt idx="75">
                  <c:v>4505.0724001834506</c:v>
                </c:pt>
                <c:pt idx="76">
                  <c:v>4596.7287393489833</c:v>
                </c:pt>
                <c:pt idx="77">
                  <c:v>4687.6055962263363</c:v>
                </c:pt>
                <c:pt idx="78">
                  <c:v>4777.6367108943268</c:v>
                </c:pt>
                <c:pt idx="79">
                  <c:v>4866.7585213760731</c:v>
                </c:pt>
                <c:pt idx="80">
                  <c:v>4954.9102644042541</c:v>
                </c:pt>
                <c:pt idx="81">
                  <c:v>5042.034073787494</c:v>
                </c:pt>
                <c:pt idx="82">
                  <c:v>5128.0750479424023</c:v>
                </c:pt>
                <c:pt idx="83">
                  <c:v>5212.981294316266</c:v>
                </c:pt>
                <c:pt idx="84">
                  <c:v>5296.7040171290737</c:v>
                </c:pt>
                <c:pt idx="85">
                  <c:v>5379.197588441185</c:v>
                </c:pt>
                <c:pt idx="86">
                  <c:v>5460.4195790553968</c:v>
                </c:pt>
                <c:pt idx="87">
                  <c:v>5540.3307945309734</c:v>
                </c:pt>
                <c:pt idx="88">
                  <c:v>5618.8953053844007</c:v>
                </c:pt>
                <c:pt idx="89">
                  <c:v>5696.080434872546</c:v>
                </c:pt>
                <c:pt idx="90">
                  <c:v>5771.8567274474572</c:v>
                </c:pt>
                <c:pt idx="91">
                  <c:v>5846.1979426379694</c:v>
                </c:pt>
                <c:pt idx="92">
                  <c:v>5919.0810188187306</c:v>
                </c:pt>
                <c:pt idx="93">
                  <c:v>5990.4860154178186</c:v>
                </c:pt>
                <c:pt idx="94">
                  <c:v>6060.396065557271</c:v>
                </c:pt>
                <c:pt idx="95">
                  <c:v>6128.7973115294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540.5312298027673</c:v>
                </c:pt>
                <c:pt idx="43">
                  <c:v>1617.183563435234</c:v>
                </c:pt>
                <c:pt idx="44">
                  <c:v>1696.0648475042385</c:v>
                </c:pt>
                <c:pt idx="45">
                  <c:v>1777.566322449117</c:v>
                </c:pt>
                <c:pt idx="46">
                  <c:v>1861.8423648895048</c:v>
                </c:pt>
                <c:pt idx="47">
                  <c:v>1948.5270466775721</c:v>
                </c:pt>
                <c:pt idx="48">
                  <c:v>2037.6710757231688</c:v>
                </c:pt>
                <c:pt idx="49">
                  <c:v>2129.0081331636893</c:v>
                </c:pt>
                <c:pt idx="50">
                  <c:v>2222.4256752669521</c:v>
                </c:pt>
                <c:pt idx="51">
                  <c:v>2318.1395698308197</c:v>
                </c:pt>
                <c:pt idx="52">
                  <c:v>2415.9083491448878</c:v>
                </c:pt>
                <c:pt idx="53">
                  <c:v>2515.7185445933624</c:v>
                </c:pt>
                <c:pt idx="54">
                  <c:v>2617.8198864660908</c:v>
                </c:pt>
                <c:pt idx="55">
                  <c:v>2721.9033300184378</c:v>
                </c:pt>
                <c:pt idx="56">
                  <c:v>2827.8709965568032</c:v>
                </c:pt>
                <c:pt idx="57">
                  <c:v>2935.8091984788466</c:v>
                </c:pt>
                <c:pt idx="58">
                  <c:v>3045.5722848691121</c:v>
                </c:pt>
                <c:pt idx="59">
                  <c:v>3157.0324143211365</c:v>
                </c:pt>
                <c:pt idx="60">
                  <c:v>3270.1972964845145</c:v>
                </c:pt>
                <c:pt idx="61">
                  <c:v>3385.0201449503784</c:v>
                </c:pt>
                <c:pt idx="62">
                  <c:v>3501.3304255757039</c:v>
                </c:pt>
                <c:pt idx="63">
                  <c:v>3619.0044347017251</c:v>
                </c:pt>
                <c:pt idx="64">
                  <c:v>3738.010330605161</c:v>
                </c:pt>
                <c:pt idx="65">
                  <c:v>3858.1364631682145</c:v>
                </c:pt>
                <c:pt idx="66">
                  <c:v>3979.2913489846283</c:v>
                </c:pt>
                <c:pt idx="67">
                  <c:v>4101.4741496581883</c:v>
                </c:pt>
                <c:pt idx="68">
                  <c:v>4224.4391199033216</c:v>
                </c:pt>
                <c:pt idx="69">
                  <c:v>4348.0901118936508</c:v>
                </c:pt>
                <c:pt idx="70">
                  <c:v>4472.2936740879832</c:v>
                </c:pt>
                <c:pt idx="71">
                  <c:v>4596.9134457229566</c:v>
                </c:pt>
                <c:pt idx="72">
                  <c:v>4721.8130217562339</c:v>
                </c:pt>
                <c:pt idx="73">
                  <c:v>4846.8561795020087</c:v>
                </c:pt>
                <c:pt idx="74">
                  <c:v>4971.906287286537</c:v>
                </c:pt>
                <c:pt idx="75">
                  <c:v>5096.8266466024961</c:v>
                </c:pt>
                <c:pt idx="76">
                  <c:v>5221.4811288186838</c:v>
                </c:pt>
                <c:pt idx="77">
                  <c:v>5345.734776682405</c:v>
                </c:pt>
                <c:pt idx="78">
                  <c:v>5469.4546270936489</c:v>
                </c:pt>
                <c:pt idx="79">
                  <c:v>5592.5103244380161</c:v>
                </c:pt>
                <c:pt idx="80">
                  <c:v>5714.7745648377086</c:v>
                </c:pt>
                <c:pt idx="81">
                  <c:v>5836.1235305743521</c:v>
                </c:pt>
                <c:pt idx="82">
                  <c:v>5956.4372769044012</c:v>
                </c:pt>
                <c:pt idx="83">
                  <c:v>6075.6000781756838</c:v>
                </c:pt>
                <c:pt idx="84">
                  <c:v>6193.5008175604298</c:v>
                </c:pt>
                <c:pt idx="85">
                  <c:v>6310.0333399054316</c:v>
                </c:pt>
                <c:pt idx="86">
                  <c:v>6425.0967334800334</c:v>
                </c:pt>
                <c:pt idx="87">
                  <c:v>6538.5955989598042</c:v>
                </c:pt>
                <c:pt idx="88">
                  <c:v>6650.4402917513826</c:v>
                </c:pt>
                <c:pt idx="89">
                  <c:v>6760.5470860380783</c:v>
                </c:pt>
                <c:pt idx="90">
                  <c:v>6868.8382901178711</c:v>
                </c:pt>
                <c:pt idx="91">
                  <c:v>6975.2423757412353</c:v>
                </c:pt>
                <c:pt idx="92">
                  <c:v>7079.6940443320582</c:v>
                </c:pt>
                <c:pt idx="93">
                  <c:v>7182.1342423961951</c:v>
                </c:pt>
                <c:pt idx="94">
                  <c:v>7282.5101703094278</c:v>
                </c:pt>
                <c:pt idx="95">
                  <c:v>7380.77524812346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542.0425713634518</c:v>
                </c:pt>
                <c:pt idx="43">
                  <c:v>1620.8229621784285</c:v>
                </c:pt>
                <c:pt idx="44">
                  <c:v>1702.530226464283</c:v>
                </c:pt>
                <c:pt idx="45">
                  <c:v>1787.6362557692635</c:v>
                </c:pt>
                <c:pt idx="46">
                  <c:v>1876.3754967505247</c:v>
                </c:pt>
                <c:pt idx="47">
                  <c:v>1968.4600929552382</c:v>
                </c:pt>
                <c:pt idx="48">
                  <c:v>2064.0118825058548</c:v>
                </c:pt>
                <c:pt idx="49">
                  <c:v>2162.8309346543115</c:v>
                </c:pt>
                <c:pt idx="50">
                  <c:v>2264.8654068052542</c:v>
                </c:pt>
                <c:pt idx="51">
                  <c:v>2370.3868773435961</c:v>
                </c:pt>
                <c:pt idx="52">
                  <c:v>2479.2061668989427</c:v>
                </c:pt>
                <c:pt idx="53">
                  <c:v>2591.3563434543225</c:v>
                </c:pt>
                <c:pt idx="54">
                  <c:v>2707.1283695455404</c:v>
                </c:pt>
                <c:pt idx="55">
                  <c:v>2826.2489621420636</c:v>
                </c:pt>
                <c:pt idx="56">
                  <c:v>2948.6499744532175</c:v>
                </c:pt>
                <c:pt idx="57">
                  <c:v>3074.4408396669351</c:v>
                </c:pt>
                <c:pt idx="58">
                  <c:v>3203.493125651526</c:v>
                </c:pt>
                <c:pt idx="59">
                  <c:v>3335.6898282896273</c:v>
                </c:pt>
                <c:pt idx="60">
                  <c:v>3471.0417054609516</c:v>
                </c:pt>
                <c:pt idx="61">
                  <c:v>3609.4971304590426</c:v>
                </c:pt>
                <c:pt idx="62">
                  <c:v>3750.8731368961166</c:v>
                </c:pt>
                <c:pt idx="63">
                  <c:v>3895.0252934438736</c:v>
                </c:pt>
                <c:pt idx="64">
                  <c:v>4041.892740845105</c:v>
                </c:pt>
                <c:pt idx="65">
                  <c:v>4191.2287825482581</c:v>
                </c:pt>
                <c:pt idx="66">
                  <c:v>4342.9001996325533</c:v>
                </c:pt>
                <c:pt idx="67">
                  <c:v>4496.8558965294069</c:v>
                </c:pt>
                <c:pt idx="68">
                  <c:v>4652.7924355618252</c:v>
                </c:pt>
                <c:pt idx="69">
                  <c:v>4810.5483511347065</c:v>
                </c:pt>
                <c:pt idx="70">
                  <c:v>4969.9180255721622</c:v>
                </c:pt>
                <c:pt idx="71">
                  <c:v>5130.6866048873744</c:v>
                </c:pt>
                <c:pt idx="72">
                  <c:v>5292.6342066889865</c:v>
                </c:pt>
                <c:pt idx="73">
                  <c:v>5455.5366100116507</c:v>
                </c:pt>
                <c:pt idx="74">
                  <c:v>5619.1648889908447</c:v>
                </c:pt>
                <c:pt idx="75">
                  <c:v>5783.2863580684934</c:v>
                </c:pt>
                <c:pt idx="76">
                  <c:v>5947.6659473704249</c:v>
                </c:pt>
                <c:pt idx="77">
                  <c:v>6112.0675509593993</c:v>
                </c:pt>
                <c:pt idx="78">
                  <c:v>6276.2556980694471</c:v>
                </c:pt>
                <c:pt idx="79">
                  <c:v>6439.9969502011991</c:v>
                </c:pt>
                <c:pt idx="80">
                  <c:v>6603.0610725133092</c:v>
                </c:pt>
                <c:pt idx="81">
                  <c:v>6765.2221846370267</c:v>
                </c:pt>
                <c:pt idx="82">
                  <c:v>6926.2598362070803</c:v>
                </c:pt>
                <c:pt idx="83">
                  <c:v>7085.9600079768334</c:v>
                </c:pt>
                <c:pt idx="84">
                  <c:v>7244.116139735258</c:v>
                </c:pt>
                <c:pt idx="85">
                  <c:v>7400.530075498973</c:v>
                </c:pt>
                <c:pt idx="86">
                  <c:v>7555.0128753190893</c:v>
                </c:pt>
                <c:pt idx="87">
                  <c:v>7707.3855647440787</c:v>
                </c:pt>
                <c:pt idx="88">
                  <c:v>7857.4798025782038</c:v>
                </c:pt>
                <c:pt idx="89">
                  <c:v>8005.1383952822016</c:v>
                </c:pt>
                <c:pt idx="90">
                  <c:v>8150.2156946016185</c:v>
                </c:pt>
                <c:pt idx="91">
                  <c:v>8292.5779631603527</c:v>
                </c:pt>
                <c:pt idx="92">
                  <c:v>8432.103604842745</c:v>
                </c:pt>
                <c:pt idx="93">
                  <c:v>8568.6832780239656</c:v>
                </c:pt>
                <c:pt idx="94">
                  <c:v>8702.2199523230302</c:v>
                </c:pt>
                <c:pt idx="95">
                  <c:v>8832.62886373056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4</c:v>
                </c:pt>
                <c:pt idx="1">
                  <c:v>25</c:v>
                </c:pt>
                <c:pt idx="2">
                  <c:v>29</c:v>
                </c:pt>
                <c:pt idx="3">
                  <c:v>31</c:v>
                </c:pt>
                <c:pt idx="4">
                  <c:v>32</c:v>
                </c:pt>
                <c:pt idx="5">
                  <c:v>34</c:v>
                </c:pt>
                <c:pt idx="6">
                  <c:v>40</c:v>
                </c:pt>
                <c:pt idx="7">
                  <c:v>44</c:v>
                </c:pt>
                <c:pt idx="8">
                  <c:v>46</c:v>
                </c:pt>
                <c:pt idx="9">
                  <c:v>49</c:v>
                </c:pt>
                <c:pt idx="10">
                  <c:v>54</c:v>
                </c:pt>
                <c:pt idx="11">
                  <c:v>58</c:v>
                </c:pt>
                <c:pt idx="12">
                  <c:v>61</c:v>
                </c:pt>
                <c:pt idx="13">
                  <c:v>64</c:v>
                </c:pt>
                <c:pt idx="14">
                  <c:v>75</c:v>
                </c:pt>
                <c:pt idx="15">
                  <c:v>80</c:v>
                </c:pt>
                <c:pt idx="16">
                  <c:v>81</c:v>
                </c:pt>
                <c:pt idx="17">
                  <c:v>90</c:v>
                </c:pt>
                <c:pt idx="18">
                  <c:v>97</c:v>
                </c:pt>
                <c:pt idx="19">
                  <c:v>105</c:v>
                </c:pt>
                <c:pt idx="20">
                  <c:v>112</c:v>
                </c:pt>
                <c:pt idx="21">
                  <c:v>128</c:v>
                </c:pt>
                <c:pt idx="22">
                  <c:v>135</c:v>
                </c:pt>
                <c:pt idx="23">
                  <c:v>144</c:v>
                </c:pt>
                <c:pt idx="24">
                  <c:v>155</c:v>
                </c:pt>
                <c:pt idx="25">
                  <c:v>174</c:v>
                </c:pt>
                <c:pt idx="26">
                  <c:v>188</c:v>
                </c:pt>
                <c:pt idx="27">
                  <c:v>201</c:v>
                </c:pt>
                <c:pt idx="28">
                  <c:v>221</c:v>
                </c:pt>
                <c:pt idx="29">
                  <c:v>237</c:v>
                </c:pt>
                <c:pt idx="30">
                  <c:v>250</c:v>
                </c:pt>
                <c:pt idx="31">
                  <c:v>276</c:v>
                </c:pt>
                <c:pt idx="32">
                  <c:v>297</c:v>
                </c:pt>
                <c:pt idx="33">
                  <c:v>317</c:v>
                </c:pt>
                <c:pt idx="34">
                  <c:v>353</c:v>
                </c:pt>
                <c:pt idx="35">
                  <c:v>383</c:v>
                </c:pt>
                <c:pt idx="36">
                  <c:v>406</c:v>
                </c:pt>
                <c:pt idx="37">
                  <c:v>430</c:v>
                </c:pt>
                <c:pt idx="38">
                  <c:v>481</c:v>
                </c:pt>
                <c:pt idx="39">
                  <c:v>535</c:v>
                </c:pt>
                <c:pt idx="40">
                  <c:v>588</c:v>
                </c:pt>
                <c:pt idx="41">
                  <c:v>636</c:v>
                </c:pt>
                <c:pt idx="42">
                  <c:v>687</c:v>
                </c:pt>
                <c:pt idx="43">
                  <c:v>709</c:v>
                </c:pt>
                <c:pt idx="44">
                  <c:v>740</c:v>
                </c:pt>
                <c:pt idx="45">
                  <c:v>789</c:v>
                </c:pt>
                <c:pt idx="46">
                  <c:v>845</c:v>
                </c:pt>
                <c:pt idx="47">
                  <c:v>881</c:v>
                </c:pt>
                <c:pt idx="48">
                  <c:v>925</c:v>
                </c:pt>
                <c:pt idx="49">
                  <c:v>967</c:v>
                </c:pt>
                <c:pt idx="50">
                  <c:v>1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70.77274411082715</c:v>
                </c:pt>
                <c:pt idx="43">
                  <c:v>709.32524837421352</c:v>
                </c:pt>
                <c:pt idx="44">
                  <c:v>748.67130782024776</c:v>
                </c:pt>
                <c:pt idx="45">
                  <c:v>788.97755570377649</c:v>
                </c:pt>
                <c:pt idx="46">
                  <c:v>830.28953787345745</c:v>
                </c:pt>
                <c:pt idx="47">
                  <c:v>872.39138148386917</c:v>
                </c:pt>
                <c:pt idx="48">
                  <c:v>915.28452556809566</c:v>
                </c:pt>
                <c:pt idx="49">
                  <c:v>958.81170397851145</c:v>
                </c:pt>
                <c:pt idx="50">
                  <c:v>1002.8890813090891</c:v>
                </c:pt>
                <c:pt idx="51">
                  <c:v>1047.6095563598278</c:v>
                </c:pt>
                <c:pt idx="52">
                  <c:v>1092.8363357498438</c:v>
                </c:pt>
                <c:pt idx="53">
                  <c:v>1138.5469699348635</c:v>
                </c:pt>
                <c:pt idx="54">
                  <c:v>1184.8615298964005</c:v>
                </c:pt>
                <c:pt idx="55">
                  <c:v>1231.6115825884776</c:v>
                </c:pt>
                <c:pt idx="56">
                  <c:v>1278.7410331750693</c:v>
                </c:pt>
                <c:pt idx="57">
                  <c:v>1326.2911673302006</c:v>
                </c:pt>
                <c:pt idx="58">
                  <c:v>1374.185189276795</c:v>
                </c:pt>
                <c:pt idx="59">
                  <c:v>1422.3609123112965</c:v>
                </c:pt>
                <c:pt idx="60">
                  <c:v>1470.8283761917119</c:v>
                </c:pt>
                <c:pt idx="61">
                  <c:v>1519.5661905135971</c:v>
                </c:pt>
                <c:pt idx="62">
                  <c:v>1568.4984044513462</c:v>
                </c:pt>
                <c:pt idx="63">
                  <c:v>1617.5733198991361</c:v>
                </c:pt>
                <c:pt idx="64">
                  <c:v>1666.7877229702772</c:v>
                </c:pt>
                <c:pt idx="65">
                  <c:v>1716.0486692167897</c:v>
                </c:pt>
                <c:pt idx="66">
                  <c:v>1765.3281284296995</c:v>
                </c:pt>
                <c:pt idx="67">
                  <c:v>1814.6490828153517</c:v>
                </c:pt>
                <c:pt idx="68">
                  <c:v>1863.9051782742176</c:v>
                </c:pt>
                <c:pt idx="69">
                  <c:v>1913.0726763691168</c:v>
                </c:pt>
                <c:pt idx="70">
                  <c:v>1962.109757406188</c:v>
                </c:pt>
                <c:pt idx="71">
                  <c:v>2010.9747964040068</c:v>
                </c:pt>
                <c:pt idx="72">
                  <c:v>2059.6273217523581</c:v>
                </c:pt>
                <c:pt idx="73">
                  <c:v>2108.0280020684522</c:v>
                </c:pt>
                <c:pt idx="74">
                  <c:v>2156.1383269632424</c:v>
                </c:pt>
                <c:pt idx="75">
                  <c:v>2203.9206280972176</c:v>
                </c:pt>
                <c:pt idx="76">
                  <c:v>2251.3382056246337</c:v>
                </c:pt>
                <c:pt idx="77">
                  <c:v>2298.3554414351729</c:v>
                </c:pt>
                <c:pt idx="78">
                  <c:v>2344.937992720711</c:v>
                </c:pt>
                <c:pt idx="79">
                  <c:v>2391.0529053611654</c:v>
                </c:pt>
                <c:pt idx="80">
                  <c:v>2436.6686663457767</c:v>
                </c:pt>
                <c:pt idx="81">
                  <c:v>2481.7552548229737</c:v>
                </c:pt>
                <c:pt idx="82">
                  <c:v>2526.2841778537418</c:v>
                </c:pt>
                <c:pt idx="83">
                  <c:v>2570.2284942860233</c:v>
                </c:pt>
                <c:pt idx="84">
                  <c:v>2613.5628602069128</c:v>
                </c:pt>
                <c:pt idx="85">
                  <c:v>2656.2635663821884</c:v>
                </c:pt>
                <c:pt idx="86">
                  <c:v>2698.3085552610005</c:v>
                </c:pt>
                <c:pt idx="87">
                  <c:v>2739.6774401437756</c:v>
                </c:pt>
                <c:pt idx="88">
                  <c:v>2780.3515209393181</c:v>
                </c:pt>
                <c:pt idx="89">
                  <c:v>2820.313778336852</c:v>
                </c:pt>
                <c:pt idx="90">
                  <c:v>2859.5488585218422</c:v>
                </c:pt>
                <c:pt idx="91">
                  <c:v>2898.043069937642</c:v>
                </c:pt>
                <c:pt idx="92">
                  <c:v>2935.784365240047</c:v>
                </c:pt>
                <c:pt idx="93">
                  <c:v>2972.7623122077175</c:v>
                </c:pt>
                <c:pt idx="94">
                  <c:v>3008.9680697824997</c:v>
                </c:pt>
                <c:pt idx="95">
                  <c:v>3044.39435486474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71.5451959998594</c:v>
                </c:pt>
                <c:pt idx="43">
                  <c:v>711.17942615460856</c:v>
                </c:pt>
                <c:pt idx="44">
                  <c:v>751.95302555970943</c:v>
                </c:pt>
                <c:pt idx="45">
                  <c:v>794.06784768656553</c:v>
                </c:pt>
                <c:pt idx="46">
                  <c:v>837.60344813793768</c:v>
                </c:pt>
                <c:pt idx="47">
                  <c:v>882.37614249292392</c:v>
                </c:pt>
                <c:pt idx="48">
                  <c:v>928.4153389746341</c:v>
                </c:pt>
                <c:pt idx="49">
                  <c:v>975.58870050258429</c:v>
                </c:pt>
                <c:pt idx="50">
                  <c:v>1023.8339562931386</c:v>
                </c:pt>
                <c:pt idx="51">
                  <c:v>1073.2626525152498</c:v>
                </c:pt>
                <c:pt idx="52">
                  <c:v>1123.7546663200885</c:v>
                </c:pt>
                <c:pt idx="53">
                  <c:v>1175.301286714704</c:v>
                </c:pt>
                <c:pt idx="54">
                  <c:v>1228.0337371936107</c:v>
                </c:pt>
                <c:pt idx="55">
                  <c:v>1281.7922729410902</c:v>
                </c:pt>
                <c:pt idx="56">
                  <c:v>1336.5268375956214</c:v>
                </c:pt>
                <c:pt idx="57">
                  <c:v>1392.2820152165978</c:v>
                </c:pt>
                <c:pt idx="58">
                  <c:v>1448.9820274635615</c:v>
                </c:pt>
                <c:pt idx="59">
                  <c:v>1506.5633391264823</c:v>
                </c:pt>
                <c:pt idx="60">
                  <c:v>1565.0318009996633</c:v>
                </c:pt>
                <c:pt idx="61">
                  <c:v>1624.3590698135727</c:v>
                </c:pt>
                <c:pt idx="62">
                  <c:v>1684.459757256345</c:v>
                </c:pt>
                <c:pt idx="63">
                  <c:v>1745.2699822169413</c:v>
                </c:pt>
                <c:pt idx="64">
                  <c:v>1806.7717033403667</c:v>
                </c:pt>
                <c:pt idx="65">
                  <c:v>1868.8555562584506</c:v>
                </c:pt>
                <c:pt idx="66">
                  <c:v>1931.4752208297002</c:v>
                </c:pt>
                <c:pt idx="67">
                  <c:v>1994.6327892049653</c:v>
                </c:pt>
                <c:pt idx="68">
                  <c:v>2058.1989377294158</c:v>
                </c:pt>
                <c:pt idx="69">
                  <c:v>2122.1247373594906</c:v>
                </c:pt>
                <c:pt idx="70">
                  <c:v>2186.3412799973994</c:v>
                </c:pt>
                <c:pt idx="71">
                  <c:v>2250.7781478903735</c:v>
                </c:pt>
                <c:pt idx="72">
                  <c:v>2315.3648826128401</c:v>
                </c:pt>
                <c:pt idx="73">
                  <c:v>2380.0310982118876</c:v>
                </c:pt>
                <c:pt idx="74">
                  <c:v>2444.7061725906415</c:v>
                </c:pt>
                <c:pt idx="75">
                  <c:v>2509.3194254718137</c:v>
                </c:pt>
                <c:pt idx="76">
                  <c:v>2573.8004474421364</c:v>
                </c:pt>
                <c:pt idx="77">
                  <c:v>2638.0794111503064</c:v>
                </c:pt>
                <c:pt idx="78">
                  <c:v>2702.0875001597951</c:v>
                </c:pt>
                <c:pt idx="79">
                  <c:v>2765.7572257588085</c:v>
                </c:pt>
                <c:pt idx="80">
                  <c:v>2829.0226571135609</c:v>
                </c:pt>
                <c:pt idx="81">
                  <c:v>2891.8196463847412</c:v>
                </c:pt>
                <c:pt idx="82">
                  <c:v>2954.0860302122874</c:v>
                </c:pt>
                <c:pt idx="83">
                  <c:v>3015.761810271682</c:v>
                </c:pt>
                <c:pt idx="84">
                  <c:v>3076.7893554141829</c:v>
                </c:pt>
                <c:pt idx="85">
                  <c:v>3137.113585582696</c:v>
                </c:pt>
                <c:pt idx="86">
                  <c:v>3196.6821195419707</c:v>
                </c:pt>
                <c:pt idx="87">
                  <c:v>3255.445415391267</c:v>
                </c:pt>
                <c:pt idx="88">
                  <c:v>3313.356896805572</c:v>
                </c:pt>
                <c:pt idx="89">
                  <c:v>3370.3730393303135</c:v>
                </c:pt>
                <c:pt idx="90">
                  <c:v>3426.4534322332706</c:v>
                </c:pt>
                <c:pt idx="91">
                  <c:v>3481.5608461003421</c:v>
                </c:pt>
                <c:pt idx="92">
                  <c:v>3535.6612688494279</c:v>
                </c:pt>
                <c:pt idx="93">
                  <c:v>3588.7239156192586</c:v>
                </c:pt>
                <c:pt idx="94">
                  <c:v>3640.7212348567373</c:v>
                </c:pt>
                <c:pt idx="95">
                  <c:v>3691.6288916526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72.32257770553008</c:v>
                </c:pt>
                <c:pt idx="43">
                  <c:v>713.05139313544339</c:v>
                </c:pt>
                <c:pt idx="44">
                  <c:v>755.27860470655401</c:v>
                </c:pt>
                <c:pt idx="45">
                  <c:v>799.2476093563605</c:v>
                </c:pt>
                <c:pt idx="46">
                  <c:v>845.07921890709918</c:v>
                </c:pt>
                <c:pt idx="47">
                  <c:v>892.63001760978443</c:v>
                </c:pt>
                <c:pt idx="48">
                  <c:v>941.9662105353591</c:v>
                </c:pt>
                <c:pt idx="49">
                  <c:v>992.98986060553057</c:v>
                </c:pt>
                <c:pt idx="50">
                  <c:v>1045.6702255516607</c:v>
                </c:pt>
                <c:pt idx="51">
                  <c:v>1100.1478300946637</c:v>
                </c:pt>
                <c:pt idx="52">
                  <c:v>1156.3297601588395</c:v>
                </c:pt>
                <c:pt idx="53">
                  <c:v>1214.2315854331594</c:v>
                </c:pt>
                <c:pt idx="54">
                  <c:v>1274.0060680183794</c:v>
                </c:pt>
                <c:pt idx="55">
                  <c:v>1335.5122001845211</c:v>
                </c:pt>
                <c:pt idx="56">
                  <c:v>1398.71556194288</c:v>
                </c:pt>
                <c:pt idx="57">
                  <c:v>1463.6729630668378</c:v>
                </c:pt>
                <c:pt idx="58">
                  <c:v>1530.3178004508686</c:v>
                </c:pt>
                <c:pt idx="59">
                  <c:v>1598.5924221417351</c:v>
                </c:pt>
                <c:pt idx="60">
                  <c:v>1668.5045417225879</c:v>
                </c:pt>
                <c:pt idx="61">
                  <c:v>1740.0236030042449</c:v>
                </c:pt>
                <c:pt idx="62">
                  <c:v>1813.0580621864615</c:v>
                </c:pt>
                <c:pt idx="63">
                  <c:v>1887.5336045813142</c:v>
                </c:pt>
                <c:pt idx="64">
                  <c:v>1963.4174796222026</c:v>
                </c:pt>
                <c:pt idx="65">
                  <c:v>2040.5824799191371</c:v>
                </c:pt>
                <c:pt idx="66">
                  <c:v>2118.9609818407635</c:v>
                </c:pt>
                <c:pt idx="67">
                  <c:v>2198.5293589463763</c:v>
                </c:pt>
                <c:pt idx="68">
                  <c:v>2279.128717560473</c:v>
                </c:pt>
                <c:pt idx="69">
                  <c:v>2360.6765964941028</c:v>
                </c:pt>
                <c:pt idx="70">
                  <c:v>2443.0669968336874</c:v>
                </c:pt>
                <c:pt idx="71">
                  <c:v>2526.1891251298903</c:v>
                </c:pt>
                <c:pt idx="72">
                  <c:v>2609.9295501162542</c:v>
                </c:pt>
                <c:pt idx="73">
                  <c:v>2694.1725521025201</c:v>
                </c:pt>
                <c:pt idx="74">
                  <c:v>2778.799928147203</c:v>
                </c:pt>
                <c:pt idx="75">
                  <c:v>2863.691480721463</c:v>
                </c:pt>
                <c:pt idx="76">
                  <c:v>2948.725727369686</c:v>
                </c:pt>
                <c:pt idx="77">
                  <c:v>3033.7805971481084</c:v>
                </c:pt>
                <c:pt idx="78">
                  <c:v>3118.7342987730094</c:v>
                </c:pt>
                <c:pt idx="79">
                  <c:v>3203.4660421578751</c:v>
                </c:pt>
                <c:pt idx="80">
                  <c:v>3287.8566445588685</c:v>
                </c:pt>
                <c:pt idx="81">
                  <c:v>3371.7891265575722</c:v>
                </c:pt>
                <c:pt idx="82">
                  <c:v>3455.149270728301</c:v>
                </c:pt>
                <c:pt idx="83">
                  <c:v>3537.8261421849961</c:v>
                </c:pt>
                <c:pt idx="84">
                  <c:v>3619.7126220298574</c:v>
                </c:pt>
                <c:pt idx="85">
                  <c:v>3700.7058993251762</c:v>
                </c:pt>
                <c:pt idx="86">
                  <c:v>3780.7078951185667</c:v>
                </c:pt>
                <c:pt idx="87">
                  <c:v>3859.6256535637203</c:v>
                </c:pt>
                <c:pt idx="88">
                  <c:v>3937.3716902996371</c:v>
                </c:pt>
                <c:pt idx="89">
                  <c:v>4013.8642623522414</c:v>
                </c:pt>
                <c:pt idx="90">
                  <c:v>4089.0275786876318</c:v>
                </c:pt>
                <c:pt idx="91">
                  <c:v>4162.7919922380634</c:v>
                </c:pt>
                <c:pt idx="92">
                  <c:v>4235.0941234153179</c:v>
                </c:pt>
                <c:pt idx="93">
                  <c:v>4305.8769232172071</c:v>
                </c:pt>
                <c:pt idx="94">
                  <c:v>4375.0897065607678</c:v>
                </c:pt>
                <c:pt idx="95">
                  <c:v>4442.68813227831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6</c:v>
                </c:pt>
                <c:pt idx="1">
                  <c:v>37</c:v>
                </c:pt>
                <c:pt idx="2">
                  <c:v>38</c:v>
                </c:pt>
                <c:pt idx="3">
                  <c:v>40</c:v>
                </c:pt>
                <c:pt idx="4">
                  <c:v>41</c:v>
                </c:pt>
                <c:pt idx="5">
                  <c:v>44</c:v>
                </c:pt>
                <c:pt idx="6">
                  <c:v>50</c:v>
                </c:pt>
                <c:pt idx="7">
                  <c:v>53</c:v>
                </c:pt>
                <c:pt idx="8">
                  <c:v>54</c:v>
                </c:pt>
                <c:pt idx="9">
                  <c:v>56</c:v>
                </c:pt>
                <c:pt idx="10">
                  <c:v>63</c:v>
                </c:pt>
                <c:pt idx="11">
                  <c:v>68</c:v>
                </c:pt>
                <c:pt idx="12">
                  <c:v>71</c:v>
                </c:pt>
                <c:pt idx="13">
                  <c:v>75</c:v>
                </c:pt>
                <c:pt idx="14">
                  <c:v>81</c:v>
                </c:pt>
                <c:pt idx="15">
                  <c:v>91</c:v>
                </c:pt>
                <c:pt idx="16">
                  <c:v>97</c:v>
                </c:pt>
                <c:pt idx="17">
                  <c:v>109</c:v>
                </c:pt>
                <c:pt idx="18">
                  <c:v>116</c:v>
                </c:pt>
                <c:pt idx="19">
                  <c:v>133</c:v>
                </c:pt>
                <c:pt idx="20">
                  <c:v>142</c:v>
                </c:pt>
                <c:pt idx="21">
                  <c:v>155</c:v>
                </c:pt>
                <c:pt idx="22">
                  <c:v>161</c:v>
                </c:pt>
                <c:pt idx="23">
                  <c:v>171</c:v>
                </c:pt>
                <c:pt idx="24">
                  <c:v>183</c:v>
                </c:pt>
                <c:pt idx="25">
                  <c:v>198</c:v>
                </c:pt>
                <c:pt idx="26">
                  <c:v>225</c:v>
                </c:pt>
                <c:pt idx="27">
                  <c:v>233</c:v>
                </c:pt>
                <c:pt idx="28">
                  <c:v>249</c:v>
                </c:pt>
                <c:pt idx="29">
                  <c:v>278</c:v>
                </c:pt>
                <c:pt idx="30">
                  <c:v>291</c:v>
                </c:pt>
                <c:pt idx="31">
                  <c:v>326</c:v>
                </c:pt>
                <c:pt idx="32">
                  <c:v>356</c:v>
                </c:pt>
                <c:pt idx="33">
                  <c:v>378</c:v>
                </c:pt>
                <c:pt idx="34">
                  <c:v>421</c:v>
                </c:pt>
                <c:pt idx="35">
                  <c:v>448</c:v>
                </c:pt>
                <c:pt idx="36">
                  <c:v>477</c:v>
                </c:pt>
                <c:pt idx="37">
                  <c:v>507</c:v>
                </c:pt>
                <c:pt idx="38">
                  <c:v>549</c:v>
                </c:pt>
                <c:pt idx="39">
                  <c:v>588</c:v>
                </c:pt>
                <c:pt idx="40">
                  <c:v>621</c:v>
                </c:pt>
                <c:pt idx="41">
                  <c:v>662</c:v>
                </c:pt>
                <c:pt idx="42">
                  <c:v>690</c:v>
                </c:pt>
                <c:pt idx="43">
                  <c:v>715</c:v>
                </c:pt>
                <c:pt idx="44">
                  <c:v>756</c:v>
                </c:pt>
                <c:pt idx="45">
                  <c:v>829</c:v>
                </c:pt>
                <c:pt idx="46">
                  <c:v>863</c:v>
                </c:pt>
                <c:pt idx="47">
                  <c:v>907</c:v>
                </c:pt>
                <c:pt idx="48">
                  <c:v>938</c:v>
                </c:pt>
                <c:pt idx="49">
                  <c:v>994</c:v>
                </c:pt>
                <c:pt idx="50">
                  <c:v>10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99.12155523766921</c:v>
                </c:pt>
                <c:pt idx="43">
                  <c:v>738.03166161023694</c:v>
                </c:pt>
                <c:pt idx="44">
                  <c:v>777.74557429749564</c:v>
                </c:pt>
                <c:pt idx="45">
                  <c:v>818.43155776830702</c:v>
                </c:pt>
                <c:pt idx="46">
                  <c:v>860.13562075160689</c:v>
                </c:pt>
                <c:pt idx="47">
                  <c:v>902.63847217413922</c:v>
                </c:pt>
                <c:pt idx="48">
                  <c:v>945.94077387912034</c:v>
                </c:pt>
                <c:pt idx="49">
                  <c:v>989.88246942867647</c:v>
                </c:pt>
                <c:pt idx="50">
                  <c:v>1034.3800111309397</c:v>
                </c:pt>
                <c:pt idx="51">
                  <c:v>1079.5272286323154</c:v>
                </c:pt>
                <c:pt idx="52">
                  <c:v>1125.1849088674776</c:v>
                </c:pt>
                <c:pt idx="53">
                  <c:v>1171.3308875998534</c:v>
                </c:pt>
                <c:pt idx="54">
                  <c:v>1218.085878240003</c:v>
                </c:pt>
                <c:pt idx="55">
                  <c:v>1265.2799222319368</c:v>
                </c:pt>
                <c:pt idx="56">
                  <c:v>1312.8563206810868</c:v>
                </c:pt>
                <c:pt idx="57">
                  <c:v>1360.8568116374213</c:v>
                </c:pt>
                <c:pt idx="58">
                  <c:v>1409.2040559414331</c:v>
                </c:pt>
                <c:pt idx="59">
                  <c:v>1457.8346949731645</c:v>
                </c:pt>
                <c:pt idx="60">
                  <c:v>1506.7584453595828</c:v>
                </c:pt>
                <c:pt idx="61">
                  <c:v>1555.9548140442528</c:v>
                </c:pt>
                <c:pt idx="62">
                  <c:v>1605.3464856982591</c:v>
                </c:pt>
                <c:pt idx="63">
                  <c:v>1654.8813062065899</c:v>
                </c:pt>
                <c:pt idx="64">
                  <c:v>1704.5564758770131</c:v>
                </c:pt>
                <c:pt idx="65">
                  <c:v>1754.2782084261798</c:v>
                </c:pt>
                <c:pt idx="66">
                  <c:v>1804.0180063944258</c:v>
                </c:pt>
                <c:pt idx="67">
                  <c:v>1853.7984692585796</c:v>
                </c:pt>
                <c:pt idx="68">
                  <c:v>1903.5128587598551</c:v>
                </c:pt>
                <c:pt idx="69">
                  <c:v>1953.137051646828</c:v>
                </c:pt>
                <c:pt idx="70">
                  <c:v>2002.6288457047674</c:v>
                </c:pt>
                <c:pt idx="71">
                  <c:v>2051.9462346395653</c:v>
                </c:pt>
                <c:pt idx="72">
                  <c:v>2101.0483777066365</c:v>
                </c:pt>
                <c:pt idx="73">
                  <c:v>2149.8955870874452</c:v>
                </c:pt>
                <c:pt idx="74">
                  <c:v>2198.4490061521951</c:v>
                </c:pt>
                <c:pt idx="75">
                  <c:v>2246.6706304498871</c:v>
                </c:pt>
                <c:pt idx="76">
                  <c:v>2294.5234352954176</c:v>
                </c:pt>
                <c:pt idx="77">
                  <c:v>2341.9714899918472</c:v>
                </c:pt>
                <c:pt idx="78">
                  <c:v>2388.9801525753937</c:v>
                </c:pt>
                <c:pt idx="79">
                  <c:v>2435.5161842953212</c:v>
                </c:pt>
                <c:pt idx="80">
                  <c:v>2481.5478024430786</c:v>
                </c:pt>
                <c:pt idx="81">
                  <c:v>2527.0447318302445</c:v>
                </c:pt>
                <c:pt idx="82">
                  <c:v>2571.9782406646582</c:v>
                </c:pt>
                <c:pt idx="83">
                  <c:v>2616.3211644193202</c:v>
                </c:pt>
                <c:pt idx="84">
                  <c:v>2660.0479516867626</c:v>
                </c:pt>
                <c:pt idx="85">
                  <c:v>2703.1347017927978</c:v>
                </c:pt>
                <c:pt idx="86">
                  <c:v>2745.5591817011805</c:v>
                </c:pt>
                <c:pt idx="87">
                  <c:v>2787.300845222479</c:v>
                </c:pt>
                <c:pt idx="88">
                  <c:v>2828.3408488823338</c:v>
                </c:pt>
                <c:pt idx="89">
                  <c:v>2868.6620459161263</c:v>
                </c:pt>
                <c:pt idx="90">
                  <c:v>2908.248970583963</c:v>
                </c:pt>
                <c:pt idx="91">
                  <c:v>2947.0878349209829</c:v>
                </c:pt>
                <c:pt idx="92">
                  <c:v>2985.1665103505597</c:v>
                </c:pt>
                <c:pt idx="93">
                  <c:v>3022.4744981242075</c:v>
                </c:pt>
                <c:pt idx="94">
                  <c:v>3059.0029050057738</c:v>
                </c:pt>
                <c:pt idx="95">
                  <c:v>3094.74440971768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99.90222348146358</c:v>
                </c:pt>
                <c:pt idx="43">
                  <c:v>739.905565396204</c:v>
                </c:pt>
                <c:pt idx="44">
                  <c:v>781.0621963385255</c:v>
                </c:pt>
                <c:pt idx="45">
                  <c:v>823.57596121959898</c:v>
                </c:pt>
                <c:pt idx="46">
                  <c:v>867.52722379291981</c:v>
                </c:pt>
                <c:pt idx="47">
                  <c:v>912.72919819964841</c:v>
                </c:pt>
                <c:pt idx="48">
                  <c:v>959.21076367629644</c:v>
                </c:pt>
                <c:pt idx="49">
                  <c:v>1006.8369994579891</c:v>
                </c:pt>
                <c:pt idx="50">
                  <c:v>1055.5460816269485</c:v>
                </c:pt>
                <c:pt idx="51">
                  <c:v>1105.4506131749704</c:v>
                </c:pt>
                <c:pt idx="52">
                  <c:v>1156.4281612975046</c:v>
                </c:pt>
                <c:pt idx="53">
                  <c:v>1208.4703736706892</c:v>
                </c:pt>
                <c:pt idx="54">
                  <c:v>1261.7091679842231</c:v>
                </c:pt>
                <c:pt idx="55">
                  <c:v>1315.9832987931277</c:v>
                </c:pt>
                <c:pt idx="56">
                  <c:v>1371.242104268312</c:v>
                </c:pt>
                <c:pt idx="57">
                  <c:v>1427.5305950206384</c:v>
                </c:pt>
                <c:pt idx="58">
                  <c:v>1484.7724046559219</c:v>
                </c:pt>
                <c:pt idx="59">
                  <c:v>1542.9027599599367</c:v>
                </c:pt>
                <c:pt idx="60">
                  <c:v>1601.9270968233777</c:v>
                </c:pt>
                <c:pt idx="61">
                  <c:v>1661.8178532594911</c:v>
                </c:pt>
                <c:pt idx="62">
                  <c:v>1722.4881435905254</c:v>
                </c:pt>
                <c:pt idx="63">
                  <c:v>1783.8734712125961</c:v>
                </c:pt>
                <c:pt idx="64">
                  <c:v>1845.9560238153435</c:v>
                </c:pt>
                <c:pt idx="65">
                  <c:v>1908.6254002783937</c:v>
                </c:pt>
                <c:pt idx="66">
                  <c:v>1971.8346016696337</c:v>
                </c:pt>
                <c:pt idx="67">
                  <c:v>2035.5851037524733</c:v>
                </c:pt>
                <c:pt idx="68">
                  <c:v>2099.7469468201002</c:v>
                </c:pt>
                <c:pt idx="69">
                  <c:v>2164.2705483631512</c:v>
                </c:pt>
                <c:pt idx="70">
                  <c:v>2229.086334626179</c:v>
                </c:pt>
                <c:pt idx="71">
                  <c:v>2294.1232094985239</c:v>
                </c:pt>
                <c:pt idx="72">
                  <c:v>2359.3100402937403</c:v>
                </c:pt>
                <c:pt idx="73">
                  <c:v>2424.5757729658576</c:v>
                </c:pt>
                <c:pt idx="74">
                  <c:v>2489.8491213369512</c:v>
                </c:pt>
                <c:pt idx="75">
                  <c:v>2555.0587464543232</c:v>
                </c:pt>
                <c:pt idx="76">
                  <c:v>2620.1335887435712</c:v>
                </c:pt>
                <c:pt idx="77">
                  <c:v>2685.0031820588356</c:v>
                </c:pt>
                <c:pt idx="78">
                  <c:v>2749.598085667159</c:v>
                </c:pt>
                <c:pt idx="79">
                  <c:v>2813.8502040901953</c:v>
                </c:pt>
                <c:pt idx="80">
                  <c:v>2877.6930192884256</c:v>
                </c:pt>
                <c:pt idx="81">
                  <c:v>2941.0618177503393</c:v>
                </c:pt>
                <c:pt idx="82">
                  <c:v>3003.893893481993</c:v>
                </c:pt>
                <c:pt idx="83">
                  <c:v>3066.1287298441148</c:v>
                </c:pt>
                <c:pt idx="84">
                  <c:v>3127.7082034180139</c:v>
                </c:pt>
                <c:pt idx="85">
                  <c:v>3188.5767692643021</c:v>
                </c:pt>
                <c:pt idx="86">
                  <c:v>3248.6816095132253</c:v>
                </c:pt>
                <c:pt idx="87">
                  <c:v>3307.9727748257314</c:v>
                </c:pt>
                <c:pt idx="88">
                  <c:v>3366.4033115728125</c:v>
                </c:pt>
                <c:pt idx="89">
                  <c:v>3423.9293485631561</c:v>
                </c:pt>
                <c:pt idx="90">
                  <c:v>3480.5101589134983</c:v>
                </c:pt>
                <c:pt idx="91">
                  <c:v>3536.1082280927108</c:v>
                </c:pt>
                <c:pt idx="92">
                  <c:v>3590.6892898246037</c:v>
                </c:pt>
                <c:pt idx="93">
                  <c:v>3644.2223355850574</c:v>
                </c:pt>
                <c:pt idx="94">
                  <c:v>3696.6796203574813</c:v>
                </c:pt>
                <c:pt idx="95">
                  <c:v>3748.0366455574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700.68787209438244</c:v>
                </c:pt>
                <c:pt idx="43">
                  <c:v>741.79744286181847</c:v>
                </c:pt>
                <c:pt idx="44">
                  <c:v>784.42313755495718</c:v>
                </c:pt>
                <c:pt idx="45">
                  <c:v>828.81077132057908</c:v>
                </c:pt>
                <c:pt idx="46">
                  <c:v>875.08238490150222</c:v>
                </c:pt>
                <c:pt idx="47">
                  <c:v>923.09186117166712</c:v>
                </c:pt>
                <c:pt idx="48">
                  <c:v>972.90521439301415</c:v>
                </c:pt>
                <c:pt idx="49">
                  <c:v>1024.422225779761</c:v>
                </c:pt>
                <c:pt idx="50">
                  <c:v>1077.612857779814</c:v>
                </c:pt>
                <c:pt idx="51">
                  <c:v>1132.6189183673891</c:v>
                </c:pt>
                <c:pt idx="52">
                  <c:v>1189.3453935238688</c:v>
                </c:pt>
                <c:pt idx="53">
                  <c:v>1247.808382786825</c:v>
                </c:pt>
                <c:pt idx="54">
                  <c:v>1308.1614879390613</c:v>
                </c:pt>
                <c:pt idx="55">
                  <c:v>1370.2623131950834</c:v>
                </c:pt>
                <c:pt idx="56">
                  <c:v>1434.0759124927276</c:v>
                </c:pt>
                <c:pt idx="57">
                  <c:v>1499.6595678451831</c:v>
                </c:pt>
                <c:pt idx="58">
                  <c:v>1566.9461050600567</c:v>
                </c:pt>
                <c:pt idx="59">
                  <c:v>1635.8766185580332</c:v>
                </c:pt>
                <c:pt idx="60">
                  <c:v>1706.4583521967813</c:v>
                </c:pt>
                <c:pt idx="61">
                  <c:v>1778.6614374924934</c:v>
                </c:pt>
                <c:pt idx="62">
                  <c:v>1852.3927072746046</c:v>
                </c:pt>
                <c:pt idx="63">
                  <c:v>1927.5770627004415</c:v>
                </c:pt>
                <c:pt idx="64">
                  <c:v>2004.1817710575829</c:v>
                </c:pt>
                <c:pt idx="65">
                  <c:v>2082.0783519768838</c:v>
                </c:pt>
                <c:pt idx="66">
                  <c:v>2161.1982350301923</c:v>
                </c:pt>
                <c:pt idx="67">
                  <c:v>2241.5168704940834</c:v>
                </c:pt>
                <c:pt idx="68">
                  <c:v>2322.8743876244598</c:v>
                </c:pt>
                <c:pt idx="69">
                  <c:v>2405.1872987124234</c:v>
                </c:pt>
                <c:pt idx="70">
                  <c:v>2488.34853742716</c:v>
                </c:pt>
                <c:pt idx="71">
                  <c:v>2572.2462029748513</c:v>
                </c:pt>
                <c:pt idx="72">
                  <c:v>2656.765741696835</c:v>
                </c:pt>
                <c:pt idx="73">
                  <c:v>2741.7903015531419</c:v>
                </c:pt>
                <c:pt idx="74">
                  <c:v>2827.2005368435916</c:v>
                </c:pt>
                <c:pt idx="75">
                  <c:v>2912.8751014398786</c:v>
                </c:pt>
                <c:pt idx="76">
                  <c:v>2998.6913654325372</c:v>
                </c:pt>
                <c:pt idx="77">
                  <c:v>3084.5261182306131</c:v>
                </c:pt>
                <c:pt idx="78">
                  <c:v>3170.2564437848996</c:v>
                </c:pt>
                <c:pt idx="79">
                  <c:v>3255.7604490591921</c:v>
                </c:pt>
                <c:pt idx="80">
                  <c:v>3340.9178757049249</c:v>
                </c:pt>
                <c:pt idx="81">
                  <c:v>3425.6107013583869</c:v>
                </c:pt>
                <c:pt idx="82">
                  <c:v>3509.7237028693648</c:v>
                </c:pt>
                <c:pt idx="83">
                  <c:v>3593.1449809643896</c:v>
                </c:pt>
                <c:pt idx="84">
                  <c:v>3675.7664981726957</c:v>
                </c:pt>
                <c:pt idx="85">
                  <c:v>3757.4845745624825</c:v>
                </c:pt>
                <c:pt idx="86">
                  <c:v>3838.2003146404331</c:v>
                </c:pt>
                <c:pt idx="87">
                  <c:v>3917.8200012086518</c:v>
                </c:pt>
                <c:pt idx="88">
                  <c:v>3996.255446206656</c:v>
                </c:pt>
                <c:pt idx="89">
                  <c:v>4073.4242621388776</c:v>
                </c:pt>
                <c:pt idx="90">
                  <c:v>4149.2500733416446</c:v>
                </c:pt>
                <c:pt idx="91">
                  <c:v>4223.6627090446127</c:v>
                </c:pt>
                <c:pt idx="92">
                  <c:v>4296.5983269289427</c:v>
                </c:pt>
                <c:pt idx="93">
                  <c:v>4367.9994756737015</c:v>
                </c:pt>
                <c:pt idx="94">
                  <c:v>4437.8151275953996</c:v>
                </c:pt>
                <c:pt idx="95">
                  <c:v>4506.00065765262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1</c:v>
                </c:pt>
                <c:pt idx="1">
                  <c:v>11</c:v>
                </c:pt>
                <c:pt idx="2">
                  <c:v>14</c:v>
                </c:pt>
                <c:pt idx="3">
                  <c:v>19</c:v>
                </c:pt>
                <c:pt idx="4">
                  <c:v>21</c:v>
                </c:pt>
                <c:pt idx="5">
                  <c:v>20</c:v>
                </c:pt>
                <c:pt idx="6">
                  <c:v>17</c:v>
                </c:pt>
                <c:pt idx="7">
                  <c:v>20</c:v>
                </c:pt>
                <c:pt idx="8">
                  <c:v>20</c:v>
                </c:pt>
                <c:pt idx="9">
                  <c:v>21</c:v>
                </c:pt>
                <c:pt idx="10">
                  <c:v>27</c:v>
                </c:pt>
                <c:pt idx="11">
                  <c:v>24</c:v>
                </c:pt>
                <c:pt idx="12">
                  <c:v>23</c:v>
                </c:pt>
                <c:pt idx="13">
                  <c:v>23</c:v>
                </c:pt>
                <c:pt idx="14">
                  <c:v>27</c:v>
                </c:pt>
                <c:pt idx="15">
                  <c:v>32</c:v>
                </c:pt>
                <c:pt idx="16">
                  <c:v>30</c:v>
                </c:pt>
                <c:pt idx="17">
                  <c:v>34</c:v>
                </c:pt>
                <c:pt idx="18">
                  <c:v>44</c:v>
                </c:pt>
                <c:pt idx="19">
                  <c:v>46</c:v>
                </c:pt>
                <c:pt idx="20">
                  <c:v>52</c:v>
                </c:pt>
                <c:pt idx="21">
                  <c:v>50</c:v>
                </c:pt>
                <c:pt idx="22">
                  <c:v>45</c:v>
                </c:pt>
                <c:pt idx="23">
                  <c:v>50</c:v>
                </c:pt>
                <c:pt idx="24">
                  <c:v>51</c:v>
                </c:pt>
                <c:pt idx="25">
                  <c:v>57</c:v>
                </c:pt>
                <c:pt idx="26">
                  <c:v>59</c:v>
                </c:pt>
                <c:pt idx="27">
                  <c:v>56</c:v>
                </c:pt>
                <c:pt idx="28">
                  <c:v>68</c:v>
                </c:pt>
                <c:pt idx="29">
                  <c:v>68</c:v>
                </c:pt>
                <c:pt idx="30">
                  <c:v>84</c:v>
                </c:pt>
                <c:pt idx="31">
                  <c:v>106</c:v>
                </c:pt>
                <c:pt idx="32">
                  <c:v>114</c:v>
                </c:pt>
                <c:pt idx="33">
                  <c:v>119</c:v>
                </c:pt>
                <c:pt idx="34">
                  <c:v>129</c:v>
                </c:pt>
                <c:pt idx="35">
                  <c:v>137</c:v>
                </c:pt>
                <c:pt idx="36">
                  <c:v>129</c:v>
                </c:pt>
                <c:pt idx="37">
                  <c:v>146</c:v>
                </c:pt>
                <c:pt idx="38">
                  <c:v>167</c:v>
                </c:pt>
                <c:pt idx="39">
                  <c:v>170</c:v>
                </c:pt>
                <c:pt idx="40">
                  <c:v>184</c:v>
                </c:pt>
                <c:pt idx="41">
                  <c:v>183</c:v>
                </c:pt>
                <c:pt idx="42">
                  <c:v>207</c:v>
                </c:pt>
                <c:pt idx="43">
                  <c:v>198</c:v>
                </c:pt>
                <c:pt idx="44">
                  <c:v>211</c:v>
                </c:pt>
                <c:pt idx="45">
                  <c:v>234</c:v>
                </c:pt>
                <c:pt idx="46">
                  <c:v>260</c:v>
                </c:pt>
                <c:pt idx="47">
                  <c:v>256</c:v>
                </c:pt>
                <c:pt idx="48">
                  <c:v>262</c:v>
                </c:pt>
                <c:pt idx="49">
                  <c:v>254</c:v>
                </c:pt>
                <c:pt idx="50">
                  <c:v>2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05.6355289245339</c:v>
                </c:pt>
                <c:pt idx="43">
                  <c:v>212.42127841257064</c:v>
                </c:pt>
                <c:pt idx="44">
                  <c:v>219.18710335486111</c:v>
                </c:pt>
                <c:pt idx="45">
                  <c:v>225.68573223680795</c:v>
                </c:pt>
                <c:pt idx="46">
                  <c:v>231.68776979256853</c:v>
                </c:pt>
                <c:pt idx="47">
                  <c:v>237.29620633377209</c:v>
                </c:pt>
                <c:pt idx="48">
                  <c:v>242.72453597317963</c:v>
                </c:pt>
                <c:pt idx="49">
                  <c:v>248.07554125045027</c:v>
                </c:pt>
                <c:pt idx="50">
                  <c:v>253.32371587213493</c:v>
                </c:pt>
                <c:pt idx="51">
                  <c:v>258.73207608832161</c:v>
                </c:pt>
                <c:pt idx="52">
                  <c:v>263.95534017493787</c:v>
                </c:pt>
                <c:pt idx="53">
                  <c:v>268.4046215146173</c:v>
                </c:pt>
                <c:pt idx="54">
                  <c:v>272.45080915357948</c:v>
                </c:pt>
                <c:pt idx="55">
                  <c:v>276.33223587262967</c:v>
                </c:pt>
                <c:pt idx="56">
                  <c:v>280.13367780515961</c:v>
                </c:pt>
                <c:pt idx="57">
                  <c:v>283.88635905232593</c:v>
                </c:pt>
                <c:pt idx="58">
                  <c:v>287.57387756579647</c:v>
                </c:pt>
                <c:pt idx="59">
                  <c:v>291.1518262983401</c:v>
                </c:pt>
                <c:pt idx="60">
                  <c:v>294.43300073919266</c:v>
                </c:pt>
                <c:pt idx="61">
                  <c:v>297.46101859560974</c:v>
                </c:pt>
                <c:pt idx="62">
                  <c:v>300.26888310204657</c:v>
                </c:pt>
                <c:pt idx="63">
                  <c:v>302.87741185686019</c:v>
                </c:pt>
                <c:pt idx="64">
                  <c:v>305.26103669441864</c:v>
                </c:pt>
                <c:pt idx="65">
                  <c:v>307.46746919519876</c:v>
                </c:pt>
                <c:pt idx="66">
                  <c:v>309.4586662255374</c:v>
                </c:pt>
                <c:pt idx="67">
                  <c:v>311.24182005461694</c:v>
                </c:pt>
                <c:pt idx="68">
                  <c:v>312.7476405419709</c:v>
                </c:pt>
                <c:pt idx="69">
                  <c:v>314.0061908882667</c:v>
                </c:pt>
                <c:pt idx="70">
                  <c:v>315.05008219405914</c:v>
                </c:pt>
                <c:pt idx="71">
                  <c:v>315.77264557881597</c:v>
                </c:pt>
                <c:pt idx="72">
                  <c:v>316.24957841663638</c:v>
                </c:pt>
                <c:pt idx="73">
                  <c:v>316.48876771943856</c:v>
                </c:pt>
                <c:pt idx="74">
                  <c:v>316.44164004962374</c:v>
                </c:pt>
                <c:pt idx="75">
                  <c:v>316.12738182055836</c:v>
                </c:pt>
                <c:pt idx="76">
                  <c:v>315.55273538175891</c:v>
                </c:pt>
                <c:pt idx="77">
                  <c:v>314.74339424333016</c:v>
                </c:pt>
                <c:pt idx="78">
                  <c:v>313.62382332548123</c:v>
                </c:pt>
                <c:pt idx="79">
                  <c:v>312.26285814140448</c:v>
                </c:pt>
                <c:pt idx="80">
                  <c:v>310.65816524375759</c:v>
                </c:pt>
                <c:pt idx="81">
                  <c:v>308.76818530182214</c:v>
                </c:pt>
                <c:pt idx="82">
                  <c:v>306.60781421278904</c:v>
                </c:pt>
                <c:pt idx="83">
                  <c:v>304.23947349464197</c:v>
                </c:pt>
                <c:pt idx="84">
                  <c:v>301.64079970838054</c:v>
                </c:pt>
                <c:pt idx="85">
                  <c:v>298.76823965443299</c:v>
                </c:pt>
                <c:pt idx="86">
                  <c:v>295.73384017940151</c:v>
                </c:pt>
                <c:pt idx="87">
                  <c:v>292.51172250381296</c:v>
                </c:pt>
                <c:pt idx="88">
                  <c:v>288.98119716342921</c:v>
                </c:pt>
                <c:pt idx="89">
                  <c:v>285.29996973539659</c:v>
                </c:pt>
                <c:pt idx="90">
                  <c:v>281.46959909743924</c:v>
                </c:pt>
                <c:pt idx="91">
                  <c:v>277.46155587437943</c:v>
                </c:pt>
                <c:pt idx="92">
                  <c:v>273.22406726258043</c:v>
                </c:pt>
                <c:pt idx="93">
                  <c:v>268.83248224108291</c:v>
                </c:pt>
                <c:pt idx="94">
                  <c:v>264.31880807499306</c:v>
                </c:pt>
                <c:pt idx="95">
                  <c:v>259.667778918381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06.11766514776843</c:v>
                </c:pt>
                <c:pt idx="43">
                  <c:v>213.55856384130476</c:v>
                </c:pt>
                <c:pt idx="44">
                  <c:v>221.16447208746706</c:v>
                </c:pt>
                <c:pt idx="45">
                  <c:v>228.69272162798373</c:v>
                </c:pt>
                <c:pt idx="46">
                  <c:v>235.92344172242889</c:v>
                </c:pt>
                <c:pt idx="47">
                  <c:v>242.95872142306104</c:v>
                </c:pt>
                <c:pt idx="48">
                  <c:v>250.01470204184116</c:v>
                </c:pt>
                <c:pt idx="49">
                  <c:v>257.18931159225752</c:v>
                </c:pt>
                <c:pt idx="50">
                  <c:v>264.45607971640476</c:v>
                </c:pt>
                <c:pt idx="51">
                  <c:v>272.07163383096992</c:v>
                </c:pt>
                <c:pt idx="52">
                  <c:v>279.68698398498293</c:v>
                </c:pt>
                <c:pt idx="53">
                  <c:v>286.70573636684543</c:v>
                </c:pt>
                <c:pt idx="54">
                  <c:v>293.49259020728988</c:v>
                </c:pt>
                <c:pt idx="55">
                  <c:v>300.27517423154239</c:v>
                </c:pt>
                <c:pt idx="56">
                  <c:v>307.12326938276084</c:v>
                </c:pt>
                <c:pt idx="57">
                  <c:v>314.04087277623876</c:v>
                </c:pt>
                <c:pt idx="58">
                  <c:v>321.00281031905905</c:v>
                </c:pt>
                <c:pt idx="59">
                  <c:v>327.95137986813307</c:v>
                </c:pt>
                <c:pt idx="60">
                  <c:v>334.69024246814831</c:v>
                </c:pt>
                <c:pt idx="61">
                  <c:v>341.24503001886978</c:v>
                </c:pt>
                <c:pt idx="62">
                  <c:v>347.63536725304812</c:v>
                </c:pt>
                <c:pt idx="63">
                  <c:v>353.86627347435325</c:v>
                </c:pt>
                <c:pt idx="64">
                  <c:v>359.89291805619706</c:v>
                </c:pt>
                <c:pt idx="65">
                  <c:v>365.74639785994145</c:v>
                </c:pt>
                <c:pt idx="66">
                  <c:v>371.37502256450392</c:v>
                </c:pt>
                <c:pt idx="67">
                  <c:v>376.77015232450134</c:v>
                </c:pt>
                <c:pt idx="68">
                  <c:v>381.84837159137686</c:v>
                </c:pt>
                <c:pt idx="69">
                  <c:v>386.62502315851009</c:v>
                </c:pt>
                <c:pt idx="70">
                  <c:v>391.11745227534482</c:v>
                </c:pt>
                <c:pt idx="71">
                  <c:v>395.20438945511148</c:v>
                </c:pt>
                <c:pt idx="72">
                  <c:v>398.94653436622605</c:v>
                </c:pt>
                <c:pt idx="73">
                  <c:v>402.33867312260497</c:v>
                </c:pt>
                <c:pt idx="74">
                  <c:v>405.31988443554604</c:v>
                </c:pt>
                <c:pt idx="75">
                  <c:v>407.89733105439348</c:v>
                </c:pt>
                <c:pt idx="76">
                  <c:v>410.06650271896518</c:v>
                </c:pt>
                <c:pt idx="77">
                  <c:v>411.84346710500483</c:v>
                </c:pt>
                <c:pt idx="78">
                  <c:v>413.14305374988021</c:v>
                </c:pt>
                <c:pt idx="79">
                  <c:v>414.02619588227333</c:v>
                </c:pt>
                <c:pt idx="80">
                  <c:v>414.48337568960534</c:v>
                </c:pt>
                <c:pt idx="81">
                  <c:v>414.46688861383268</c:v>
                </c:pt>
                <c:pt idx="82">
                  <c:v>413.98610076570174</c:v>
                </c:pt>
                <c:pt idx="83">
                  <c:v>413.09971410199768</c:v>
                </c:pt>
                <c:pt idx="84">
                  <c:v>411.78244591604494</c:v>
                </c:pt>
                <c:pt idx="85">
                  <c:v>409.98890665378144</c:v>
                </c:pt>
                <c:pt idx="86">
                  <c:v>407.83037603787886</c:v>
                </c:pt>
                <c:pt idx="87">
                  <c:v>405.28123380127806</c:v>
                </c:pt>
                <c:pt idx="88">
                  <c:v>402.22159102346143</c:v>
                </c:pt>
                <c:pt idx="89">
                  <c:v>398.81164429497301</c:v>
                </c:pt>
                <c:pt idx="90">
                  <c:v>395.05561783116832</c:v>
                </c:pt>
                <c:pt idx="91">
                  <c:v>390.92879671436799</c:v>
                </c:pt>
                <c:pt idx="92">
                  <c:v>386.37800343450209</c:v>
                </c:pt>
                <c:pt idx="93">
                  <c:v>381.48800212035519</c:v>
                </c:pt>
                <c:pt idx="94">
                  <c:v>376.29673675929996</c:v>
                </c:pt>
                <c:pt idx="95">
                  <c:v>370.795517894744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06.60286759433035</c:v>
                </c:pt>
                <c:pt idx="43">
                  <c:v>214.70679772262446</c:v>
                </c:pt>
                <c:pt idx="44">
                  <c:v>223.16856249909802</c:v>
                </c:pt>
                <c:pt idx="45">
                  <c:v>231.75362435374009</c:v>
                </c:pt>
                <c:pt idx="46">
                  <c:v>240.25553832765809</c:v>
                </c:pt>
                <c:pt idx="47">
                  <c:v>248.77961797284877</c:v>
                </c:pt>
                <c:pt idx="48">
                  <c:v>257.54895752208631</c:v>
                </c:pt>
                <c:pt idx="49">
                  <c:v>266.66098294323626</c:v>
                </c:pt>
                <c:pt idx="50">
                  <c:v>276.09258426398196</c:v>
                </c:pt>
                <c:pt idx="51">
                  <c:v>286.0981808506624</c:v>
                </c:pt>
                <c:pt idx="52">
                  <c:v>296.32903919919954</c:v>
                </c:pt>
                <c:pt idx="53">
                  <c:v>306.18487297407205</c:v>
                </c:pt>
                <c:pt idx="54">
                  <c:v>316.02739670485414</c:v>
                </c:pt>
                <c:pt idx="55">
                  <c:v>326.07622556319131</c:v>
                </c:pt>
                <c:pt idx="56">
                  <c:v>336.38826536513113</c:v>
                </c:pt>
                <c:pt idx="57">
                  <c:v>346.9416537390581</c:v>
                </c:pt>
                <c:pt idx="58">
                  <c:v>357.70313800141082</c:v>
                </c:pt>
                <c:pt idx="59">
                  <c:v>368.60163879496918</c:v>
                </c:pt>
                <c:pt idx="60">
                  <c:v>379.43076793889566</c:v>
                </c:pt>
                <c:pt idx="61">
                  <c:v>390.19636228610204</c:v>
                </c:pt>
                <c:pt idx="62">
                  <c:v>400.90198335039202</c:v>
                </c:pt>
                <c:pt idx="63">
                  <c:v>411.53329901778432</c:v>
                </c:pt>
                <c:pt idx="64">
                  <c:v>422.02179218677713</c:v>
                </c:pt>
                <c:pt idx="65">
                  <c:v>432.37678952251338</c:v>
                </c:pt>
                <c:pt idx="66">
                  <c:v>442.52711854740528</c:v>
                </c:pt>
                <c:pt idx="67">
                  <c:v>452.44171239207571</c:v>
                </c:pt>
                <c:pt idx="68">
                  <c:v>462.01578798972838</c:v>
                </c:pt>
                <c:pt idx="69">
                  <c:v>471.24216157373041</c:v>
                </c:pt>
                <c:pt idx="70">
                  <c:v>480.11465138575539</c:v>
                </c:pt>
                <c:pt idx="71">
                  <c:v>488.48877626825754</c:v>
                </c:pt>
                <c:pt idx="72">
                  <c:v>496.40142880403579</c:v>
                </c:pt>
                <c:pt idx="73">
                  <c:v>503.82539924940522</c:v>
                </c:pt>
                <c:pt idx="74">
                  <c:v>510.67853068729653</c:v>
                </c:pt>
                <c:pt idx="75">
                  <c:v>516.94719888930194</c:v>
                </c:pt>
                <c:pt idx="76">
                  <c:v>522.60712583831082</c:v>
                </c:pt>
                <c:pt idx="77">
                  <c:v>527.65660854468263</c:v>
                </c:pt>
                <c:pt idx="78">
                  <c:v>531.99317633903161</c:v>
                </c:pt>
                <c:pt idx="79">
                  <c:v>535.66278396512712</c:v>
                </c:pt>
                <c:pt idx="80">
                  <c:v>538.64232848819017</c:v>
                </c:pt>
                <c:pt idx="81">
                  <c:v>540.8723178645746</c:v>
                </c:pt>
                <c:pt idx="82">
                  <c:v>542.35177688147689</c:v>
                </c:pt>
                <c:pt idx="83">
                  <c:v>543.13177037309492</c:v>
                </c:pt>
                <c:pt idx="84">
                  <c:v>543.18111591959791</c:v>
                </c:pt>
                <c:pt idx="85">
                  <c:v>542.45057349097169</c:v>
                </c:pt>
                <c:pt idx="86">
                  <c:v>541.04962200930208</c:v>
                </c:pt>
                <c:pt idx="87">
                  <c:v>538.95284372559956</c:v>
                </c:pt>
                <c:pt idx="88">
                  <c:v>536.04205494112148</c:v>
                </c:pt>
                <c:pt idx="89">
                  <c:v>532.48178613947653</c:v>
                </c:pt>
                <c:pt idx="90">
                  <c:v>528.28166398329176</c:v>
                </c:pt>
                <c:pt idx="91">
                  <c:v>523.4243705184125</c:v>
                </c:pt>
                <c:pt idx="92">
                  <c:v>517.85965167386371</c:v>
                </c:pt>
                <c:pt idx="93">
                  <c:v>511.68674186385579</c:v>
                </c:pt>
                <c:pt idx="94">
                  <c:v>504.95519446705072</c:v>
                </c:pt>
                <c:pt idx="95">
                  <c:v>497.669113265392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6</c:v>
                </c:pt>
                <c:pt idx="1">
                  <c:v>116</c:v>
                </c:pt>
                <c:pt idx="2">
                  <c:v>119</c:v>
                </c:pt>
                <c:pt idx="3">
                  <c:v>124</c:v>
                </c:pt>
                <c:pt idx="4">
                  <c:v>129</c:v>
                </c:pt>
                <c:pt idx="5">
                  <c:v>139</c:v>
                </c:pt>
                <c:pt idx="6">
                  <c:v>147</c:v>
                </c:pt>
                <c:pt idx="7">
                  <c:v>153</c:v>
                </c:pt>
                <c:pt idx="8">
                  <c:v>160</c:v>
                </c:pt>
                <c:pt idx="9">
                  <c:v>165</c:v>
                </c:pt>
                <c:pt idx="10">
                  <c:v>176</c:v>
                </c:pt>
                <c:pt idx="11">
                  <c:v>185</c:v>
                </c:pt>
                <c:pt idx="12">
                  <c:v>208</c:v>
                </c:pt>
                <c:pt idx="13">
                  <c:v>215</c:v>
                </c:pt>
                <c:pt idx="14">
                  <c:v>229</c:v>
                </c:pt>
                <c:pt idx="15">
                  <c:v>242</c:v>
                </c:pt>
                <c:pt idx="16">
                  <c:v>252</c:v>
                </c:pt>
                <c:pt idx="17">
                  <c:v>268</c:v>
                </c:pt>
                <c:pt idx="18">
                  <c:v>307</c:v>
                </c:pt>
                <c:pt idx="19">
                  <c:v>322</c:v>
                </c:pt>
                <c:pt idx="20">
                  <c:v>347</c:v>
                </c:pt>
                <c:pt idx="21">
                  <c:v>380</c:v>
                </c:pt>
                <c:pt idx="22">
                  <c:v>404</c:v>
                </c:pt>
                <c:pt idx="23">
                  <c:v>424</c:v>
                </c:pt>
                <c:pt idx="24">
                  <c:v>477</c:v>
                </c:pt>
                <c:pt idx="25">
                  <c:v>549</c:v>
                </c:pt>
                <c:pt idx="26">
                  <c:v>596</c:v>
                </c:pt>
                <c:pt idx="27">
                  <c:v>634</c:v>
                </c:pt>
                <c:pt idx="28">
                  <c:v>681</c:v>
                </c:pt>
                <c:pt idx="29">
                  <c:v>715</c:v>
                </c:pt>
                <c:pt idx="30">
                  <c:v>756</c:v>
                </c:pt>
                <c:pt idx="31">
                  <c:v>843</c:v>
                </c:pt>
                <c:pt idx="32">
                  <c:v>951</c:v>
                </c:pt>
                <c:pt idx="33">
                  <c:v>1036</c:v>
                </c:pt>
                <c:pt idx="34">
                  <c:v>1081</c:v>
                </c:pt>
                <c:pt idx="35">
                  <c:v>1144</c:v>
                </c:pt>
                <c:pt idx="36">
                  <c:v>1188</c:v>
                </c:pt>
                <c:pt idx="37">
                  <c:v>1232</c:v>
                </c:pt>
                <c:pt idx="38">
                  <c:v>1323</c:v>
                </c:pt>
                <c:pt idx="39">
                  <c:v>1405</c:v>
                </c:pt>
                <c:pt idx="40">
                  <c:v>1475</c:v>
                </c:pt>
                <c:pt idx="41">
                  <c:v>1554</c:v>
                </c:pt>
                <c:pt idx="42">
                  <c:v>1652</c:v>
                </c:pt>
                <c:pt idx="43">
                  <c:v>1711</c:v>
                </c:pt>
                <c:pt idx="44">
                  <c:v>1779</c:v>
                </c:pt>
                <c:pt idx="45">
                  <c:v>1880</c:v>
                </c:pt>
                <c:pt idx="46">
                  <c:v>1968</c:v>
                </c:pt>
                <c:pt idx="47">
                  <c:v>2041</c:v>
                </c:pt>
                <c:pt idx="48">
                  <c:v>2143</c:v>
                </c:pt>
                <c:pt idx="49">
                  <c:v>2220</c:v>
                </c:pt>
                <c:pt idx="50">
                  <c:v>23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617.4781831555165</c:v>
                </c:pt>
                <c:pt idx="43">
                  <c:v>1694.5200436447283</c:v>
                </c:pt>
                <c:pt idx="44">
                  <c:v>1773.1577951314539</c:v>
                </c:pt>
                <c:pt idx="45">
                  <c:v>1853.7247296254502</c:v>
                </c:pt>
                <c:pt idx="46">
                  <c:v>1936.3120051561268</c:v>
                </c:pt>
                <c:pt idx="47">
                  <c:v>2020.4832916461887</c:v>
                </c:pt>
                <c:pt idx="48">
                  <c:v>2106.2387076946316</c:v>
                </c:pt>
                <c:pt idx="49">
                  <c:v>2193.2593346957015</c:v>
                </c:pt>
                <c:pt idx="50">
                  <c:v>2281.3813547044733</c:v>
                </c:pt>
                <c:pt idx="51">
                  <c:v>2370.7906543023619</c:v>
                </c:pt>
                <c:pt idx="52">
                  <c:v>2461.2098571210868</c:v>
                </c:pt>
                <c:pt idx="53">
                  <c:v>2552.5958221442747</c:v>
                </c:pt>
                <c:pt idx="54">
                  <c:v>2645.1868508843399</c:v>
                </c:pt>
                <c:pt idx="55">
                  <c:v>2738.6464815784248</c:v>
                </c:pt>
                <c:pt idx="56">
                  <c:v>2832.8623243860347</c:v>
                </c:pt>
                <c:pt idx="57">
                  <c:v>2927.9171251481621</c:v>
                </c:pt>
                <c:pt idx="58">
                  <c:v>3023.6580073486584</c:v>
                </c:pt>
                <c:pt idx="59">
                  <c:v>3119.9586239816786</c:v>
                </c:pt>
                <c:pt idx="60">
                  <c:v>3216.8375863646952</c:v>
                </c:pt>
                <c:pt idx="61">
                  <c:v>3314.2559703376082</c:v>
                </c:pt>
                <c:pt idx="62">
                  <c:v>3412.0596967964102</c:v>
                </c:pt>
                <c:pt idx="63">
                  <c:v>3510.1455362660936</c:v>
                </c:pt>
                <c:pt idx="64">
                  <c:v>3608.5086147681791</c:v>
                </c:pt>
                <c:pt idx="65">
                  <c:v>3706.9632664150595</c:v>
                </c:pt>
                <c:pt idx="66">
                  <c:v>3805.4527538871712</c:v>
                </c:pt>
                <c:pt idx="67">
                  <c:v>3904.0209256487224</c:v>
                </c:pt>
                <c:pt idx="68">
                  <c:v>4002.4573484890543</c:v>
                </c:pt>
                <c:pt idx="69">
                  <c:v>4100.7140102705707</c:v>
                </c:pt>
                <c:pt idx="70">
                  <c:v>4198.7073588922485</c:v>
                </c:pt>
                <c:pt idx="71">
                  <c:v>4296.3542292737002</c:v>
                </c:pt>
                <c:pt idx="72">
                  <c:v>4393.5737663493655</c:v>
                </c:pt>
                <c:pt idx="73">
                  <c:v>4490.2874010423266</c:v>
                </c:pt>
                <c:pt idx="74">
                  <c:v>4586.4182139154073</c:v>
                </c:pt>
                <c:pt idx="75">
                  <c:v>4681.890976337856</c:v>
                </c:pt>
                <c:pt idx="76">
                  <c:v>4776.6324030620908</c:v>
                </c:pt>
                <c:pt idx="77">
                  <c:v>4870.571378278124</c:v>
                </c:pt>
                <c:pt idx="78">
                  <c:v>4963.6393402773192</c:v>
                </c:pt>
                <c:pt idx="79">
                  <c:v>5055.7705081859112</c:v>
                </c:pt>
                <c:pt idx="80">
                  <c:v>5146.9019864483198</c:v>
                </c:pt>
                <c:pt idx="81">
                  <c:v>5236.9738666847597</c:v>
                </c:pt>
                <c:pt idx="82">
                  <c:v>5325.9292984109425</c:v>
                </c:pt>
                <c:pt idx="83">
                  <c:v>5413.7145359562328</c:v>
                </c:pt>
                <c:pt idx="84">
                  <c:v>5500.2790292258505</c:v>
                </c:pt>
                <c:pt idx="85">
                  <c:v>5585.5754979150224</c:v>
                </c:pt>
                <c:pt idx="86">
                  <c:v>5669.5599645915454</c:v>
                </c:pt>
                <c:pt idx="87">
                  <c:v>5752.1917925229918</c:v>
                </c:pt>
                <c:pt idx="88">
                  <c:v>5833.433717043029</c:v>
                </c:pt>
                <c:pt idx="89">
                  <c:v>5913.2518334749693</c:v>
                </c:pt>
                <c:pt idx="90">
                  <c:v>5991.6155656849269</c:v>
                </c:pt>
                <c:pt idx="91">
                  <c:v>6068.4976596756233</c:v>
                </c:pt>
                <c:pt idx="92">
                  <c:v>6143.8741469183224</c:v>
                </c:pt>
                <c:pt idx="93">
                  <c:v>6217.7242855213872</c:v>
                </c:pt>
                <c:pt idx="94">
                  <c:v>6290.0305118832257</c:v>
                </c:pt>
                <c:pt idx="95">
                  <c:v>6360.77837419405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619.0254882647978</c:v>
                </c:pt>
                <c:pt idx="43">
                  <c:v>1698.2341759894816</c:v>
                </c:pt>
                <c:pt idx="44">
                  <c:v>1779.7314241152017</c:v>
                </c:pt>
                <c:pt idx="45">
                  <c:v>1863.9210243459568</c:v>
                </c:pt>
                <c:pt idx="46">
                  <c:v>1950.9622024634168</c:v>
                </c:pt>
                <c:pt idx="47">
                  <c:v>2040.4830160574254</c:v>
                </c:pt>
                <c:pt idx="48">
                  <c:v>2132.5394371244829</c:v>
                </c:pt>
                <c:pt idx="49">
                  <c:v>2226.8622784625186</c:v>
                </c:pt>
                <c:pt idx="50">
                  <c:v>2323.330673489681</c:v>
                </c:pt>
                <c:pt idx="51">
                  <c:v>2422.1676090928113</c:v>
                </c:pt>
                <c:pt idx="52">
                  <c:v>2523.1288660584696</c:v>
                </c:pt>
                <c:pt idx="53">
                  <c:v>2626.1985693806573</c:v>
                </c:pt>
                <c:pt idx="54">
                  <c:v>2731.6371270841955</c:v>
                </c:pt>
                <c:pt idx="55">
                  <c:v>2839.1252453434772</c:v>
                </c:pt>
                <c:pt idx="56">
                  <c:v>2948.5624011152586</c:v>
                </c:pt>
                <c:pt idx="57">
                  <c:v>3060.0377348382863</c:v>
                </c:pt>
                <c:pt idx="58">
                  <c:v>3173.4002144913793</c:v>
                </c:pt>
                <c:pt idx="59">
                  <c:v>3288.520611398917</c:v>
                </c:pt>
                <c:pt idx="60">
                  <c:v>3405.4089812572975</c:v>
                </c:pt>
                <c:pt idx="61">
                  <c:v>3524.0123256989214</c:v>
                </c:pt>
                <c:pt idx="62">
                  <c:v>3644.1575480349702</c:v>
                </c:pt>
                <c:pt idx="63">
                  <c:v>3765.7169106385927</c:v>
                </c:pt>
                <c:pt idx="64">
                  <c:v>3888.6557428198412</c:v>
                </c:pt>
                <c:pt idx="65">
                  <c:v>4012.755417136827</c:v>
                </c:pt>
                <c:pt idx="66">
                  <c:v>4137.9225002742805</c:v>
                </c:pt>
                <c:pt idx="67">
                  <c:v>4264.1589556890021</c:v>
                </c:pt>
                <c:pt idx="68">
                  <c:v>4391.2083132456246</c:v>
                </c:pt>
                <c:pt idx="69">
                  <c:v>4518.9720988207291</c:v>
                </c:pt>
                <c:pt idx="70">
                  <c:v>4647.3125167160797</c:v>
                </c:pt>
                <c:pt idx="71">
                  <c:v>4776.0887589402973</c:v>
                </c:pt>
                <c:pt idx="72">
                  <c:v>4905.1599518277117</c:v>
                </c:pt>
                <c:pt idx="73">
                  <c:v>5034.385385705853</c:v>
                </c:pt>
                <c:pt idx="74">
                  <c:v>5163.6239006328942</c:v>
                </c:pt>
                <c:pt idx="75">
                  <c:v>5292.7342411365516</c:v>
                </c:pt>
                <c:pt idx="76">
                  <c:v>5421.5757139610796</c:v>
                </c:pt>
                <c:pt idx="77">
                  <c:v>5550.0088098338656</c:v>
                </c:pt>
                <c:pt idx="78">
                  <c:v>5677.8960575167775</c:v>
                </c:pt>
                <c:pt idx="79">
                  <c:v>5805.1026572318769</c:v>
                </c:pt>
                <c:pt idx="80">
                  <c:v>5931.4969402286542</c:v>
                </c:pt>
                <c:pt idx="81">
                  <c:v>6056.9508182457357</c:v>
                </c:pt>
                <c:pt idx="82">
                  <c:v>6181.3401848804479</c:v>
                </c:pt>
                <c:pt idx="83">
                  <c:v>6304.5452750316008</c:v>
                </c:pt>
                <c:pt idx="84">
                  <c:v>6426.4510683280932</c:v>
                </c:pt>
                <c:pt idx="85">
                  <c:v>6546.9476553930263</c:v>
                </c:pt>
                <c:pt idx="86">
                  <c:v>6665.9305312828474</c:v>
                </c:pt>
                <c:pt idx="87">
                  <c:v>6783.3008750445679</c:v>
                </c:pt>
                <c:pt idx="88">
                  <c:v>6898.9658011793153</c:v>
                </c:pt>
                <c:pt idx="89">
                  <c:v>7012.8385308086736</c:v>
                </c:pt>
                <c:pt idx="90">
                  <c:v>7124.8385133405918</c:v>
                </c:pt>
                <c:pt idx="91">
                  <c:v>7234.8915609270189</c:v>
                </c:pt>
                <c:pt idx="92">
                  <c:v>7342.929918880217</c:v>
                </c:pt>
                <c:pt idx="93">
                  <c:v>7448.892283748216</c:v>
                </c:pt>
                <c:pt idx="94">
                  <c:v>7552.7238141251119</c:v>
                </c:pt>
                <c:pt idx="95">
                  <c:v>7654.37609645526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620.5826617599557</c:v>
                </c:pt>
                <c:pt idx="43">
                  <c:v>1701.9839255068214</c:v>
                </c:pt>
                <c:pt idx="44">
                  <c:v>1786.392881667424</c:v>
                </c:pt>
                <c:pt idx="45">
                  <c:v>1874.2964853030248</c:v>
                </c:pt>
                <c:pt idx="46">
                  <c:v>1965.9365398976763</c:v>
                </c:pt>
                <c:pt idx="47">
                  <c:v>2061.021666988132</c:v>
                </c:pt>
                <c:pt idx="48">
                  <c:v>2159.681361044657</c:v>
                </c:pt>
                <c:pt idx="49">
                  <c:v>2261.7151188574944</c:v>
                </c:pt>
                <c:pt idx="50">
                  <c:v>2367.0649585634765</c:v>
                </c:pt>
                <c:pt idx="51">
                  <c:v>2476.0116289286266</c:v>
                </c:pt>
                <c:pt idx="52">
                  <c:v>2588.3651359539904</c:v>
                </c:pt>
                <c:pt idx="53">
                  <c:v>2704.1579377500693</c:v>
                </c:pt>
                <c:pt idx="54">
                  <c:v>2823.6932948986996</c:v>
                </c:pt>
                <c:pt idx="55">
                  <c:v>2946.6891435202192</c:v>
                </c:pt>
                <c:pt idx="56">
                  <c:v>3073.0759787609386</c:v>
                </c:pt>
                <c:pt idx="57">
                  <c:v>3202.9671363005255</c:v>
                </c:pt>
                <c:pt idx="58">
                  <c:v>3336.2296819111411</c:v>
                </c:pt>
                <c:pt idx="59">
                  <c:v>3472.7458989852857</c:v>
                </c:pt>
                <c:pt idx="60">
                  <c:v>3612.5293142851474</c:v>
                </c:pt>
                <c:pt idx="61">
                  <c:v>3755.52225245314</c:v>
                </c:pt>
                <c:pt idx="62">
                  <c:v>3901.5390755805292</c:v>
                </c:pt>
                <c:pt idx="63">
                  <c:v>4050.4309452747539</c:v>
                </c:pt>
                <c:pt idx="64">
                  <c:v>4202.1335358081496</c:v>
                </c:pt>
                <c:pt idx="65">
                  <c:v>4356.3923162753836</c:v>
                </c:pt>
                <c:pt idx="66">
                  <c:v>4513.0710357427142</c:v>
                </c:pt>
                <c:pt idx="67">
                  <c:v>4672.1200242758368</c:v>
                </c:pt>
                <c:pt idx="68">
                  <c:v>4833.2234873907964</c:v>
                </c:pt>
                <c:pt idx="69">
                  <c:v>4996.21572529677</c:v>
                </c:pt>
                <c:pt idx="70">
                  <c:v>5160.884620126395</c:v>
                </c:pt>
                <c:pt idx="71">
                  <c:v>5327.0084886471996</c:v>
                </c:pt>
                <c:pt idx="72">
                  <c:v>5494.3604091664347</c:v>
                </c:pt>
                <c:pt idx="73">
                  <c:v>5662.7089261952433</c:v>
                </c:pt>
                <c:pt idx="74">
                  <c:v>5831.8176658410684</c:v>
                </c:pt>
                <c:pt idx="75">
                  <c:v>6001.4463124588237</c:v>
                </c:pt>
                <c:pt idx="76">
                  <c:v>6171.3520282178579</c:v>
                </c:pt>
                <c:pt idx="77">
                  <c:v>6341.2908455397492</c:v>
                </c:pt>
                <c:pt idx="78">
                  <c:v>6511.0193985629849</c:v>
                </c:pt>
                <c:pt idx="79">
                  <c:v>6680.2963658770532</c:v>
                </c:pt>
                <c:pt idx="80">
                  <c:v>6848.8836814952519</c:v>
                </c:pt>
                <c:pt idx="81">
                  <c:v>7016.5477250986796</c:v>
                </c:pt>
                <c:pt idx="82">
                  <c:v>7183.0604362909708</c:v>
                </c:pt>
                <c:pt idx="83">
                  <c:v>7348.2003523559169</c:v>
                </c:pt>
                <c:pt idx="84">
                  <c:v>7511.7536726390053</c:v>
                </c:pt>
                <c:pt idx="85">
                  <c:v>7673.5152388987535</c:v>
                </c:pt>
                <c:pt idx="86">
                  <c:v>7833.2893789697455</c:v>
                </c:pt>
                <c:pt idx="87">
                  <c:v>7990.8906852534174</c:v>
                </c:pt>
                <c:pt idx="88">
                  <c:v>8146.1447082249133</c:v>
                </c:pt>
                <c:pt idx="89">
                  <c:v>8298.8884923845544</c:v>
                </c:pt>
                <c:pt idx="90">
                  <c:v>8448.9709926972246</c:v>
                </c:pt>
                <c:pt idx="91">
                  <c:v>8596.2534557289691</c:v>
                </c:pt>
                <c:pt idx="92">
                  <c:v>8740.6096626319886</c:v>
                </c:pt>
                <c:pt idx="93">
                  <c:v>8881.9260512593355</c:v>
                </c:pt>
                <c:pt idx="94">
                  <c:v>9020.1017792791372</c:v>
                </c:pt>
                <c:pt idx="95">
                  <c:v>9155.0486813889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</c:v>
                </c:pt>
                <c:pt idx="1">
                  <c:v>21</c:v>
                </c:pt>
                <c:pt idx="2">
                  <c:v>23</c:v>
                </c:pt>
                <c:pt idx="3">
                  <c:v>26</c:v>
                </c:pt>
                <c:pt idx="4">
                  <c:v>27</c:v>
                </c:pt>
                <c:pt idx="5">
                  <c:v>26</c:v>
                </c:pt>
                <c:pt idx="6">
                  <c:v>24</c:v>
                </c:pt>
                <c:pt idx="7">
                  <c:v>33</c:v>
                </c:pt>
                <c:pt idx="8">
                  <c:v>30</c:v>
                </c:pt>
                <c:pt idx="9">
                  <c:v>35</c:v>
                </c:pt>
                <c:pt idx="10">
                  <c:v>36</c:v>
                </c:pt>
                <c:pt idx="11">
                  <c:v>35</c:v>
                </c:pt>
                <c:pt idx="12">
                  <c:v>37</c:v>
                </c:pt>
                <c:pt idx="13">
                  <c:v>38</c:v>
                </c:pt>
                <c:pt idx="14">
                  <c:v>47</c:v>
                </c:pt>
                <c:pt idx="15">
                  <c:v>51</c:v>
                </c:pt>
                <c:pt idx="16">
                  <c:v>63</c:v>
                </c:pt>
                <c:pt idx="17">
                  <c:v>76</c:v>
                </c:pt>
                <c:pt idx="18">
                  <c:v>77</c:v>
                </c:pt>
                <c:pt idx="19">
                  <c:v>83</c:v>
                </c:pt>
                <c:pt idx="20">
                  <c:v>82</c:v>
                </c:pt>
                <c:pt idx="21">
                  <c:v>82</c:v>
                </c:pt>
                <c:pt idx="22">
                  <c:v>84</c:v>
                </c:pt>
                <c:pt idx="23">
                  <c:v>93</c:v>
                </c:pt>
                <c:pt idx="24">
                  <c:v>109</c:v>
                </c:pt>
                <c:pt idx="25">
                  <c:v>100</c:v>
                </c:pt>
                <c:pt idx="26">
                  <c:v>107</c:v>
                </c:pt>
                <c:pt idx="27">
                  <c:v>108</c:v>
                </c:pt>
                <c:pt idx="28">
                  <c:v>114</c:v>
                </c:pt>
                <c:pt idx="29">
                  <c:v>128</c:v>
                </c:pt>
                <c:pt idx="30">
                  <c:v>142</c:v>
                </c:pt>
                <c:pt idx="31">
                  <c:v>154</c:v>
                </c:pt>
                <c:pt idx="32">
                  <c:v>158</c:v>
                </c:pt>
                <c:pt idx="33">
                  <c:v>164</c:v>
                </c:pt>
                <c:pt idx="34">
                  <c:v>194</c:v>
                </c:pt>
                <c:pt idx="35">
                  <c:v>198</c:v>
                </c:pt>
                <c:pt idx="36">
                  <c:v>196</c:v>
                </c:pt>
                <c:pt idx="37">
                  <c:v>195</c:v>
                </c:pt>
                <c:pt idx="38">
                  <c:v>224</c:v>
                </c:pt>
                <c:pt idx="39">
                  <c:v>259</c:v>
                </c:pt>
                <c:pt idx="40">
                  <c:v>258</c:v>
                </c:pt>
                <c:pt idx="41">
                  <c:v>272</c:v>
                </c:pt>
                <c:pt idx="42">
                  <c:v>285</c:v>
                </c:pt>
                <c:pt idx="43">
                  <c:v>266</c:v>
                </c:pt>
                <c:pt idx="44">
                  <c:v>267</c:v>
                </c:pt>
                <c:pt idx="45">
                  <c:v>303</c:v>
                </c:pt>
                <c:pt idx="46">
                  <c:v>304</c:v>
                </c:pt>
                <c:pt idx="47">
                  <c:v>315</c:v>
                </c:pt>
                <c:pt idx="48">
                  <c:v>342</c:v>
                </c:pt>
                <c:pt idx="49">
                  <c:v>346</c:v>
                </c:pt>
                <c:pt idx="50">
                  <c:v>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58.76804072918935</c:v>
                </c:pt>
                <c:pt idx="43">
                  <c:v>267.12579430817709</c:v>
                </c:pt>
                <c:pt idx="44">
                  <c:v>275.46184647861662</c:v>
                </c:pt>
                <c:pt idx="45">
                  <c:v>283.45455991405464</c:v>
                </c:pt>
                <c:pt idx="46">
                  <c:v>290.79997301754918</c:v>
                </c:pt>
                <c:pt idx="47">
                  <c:v>297.6461968768474</c:v>
                </c:pt>
                <c:pt idx="48">
                  <c:v>304.2873635647195</c:v>
                </c:pt>
                <c:pt idx="49">
                  <c:v>310.85020372736318</c:v>
                </c:pt>
                <c:pt idx="50">
                  <c:v>317.29458613582358</c:v>
                </c:pt>
                <c:pt idx="51">
                  <c:v>323.96238873893776</c:v>
                </c:pt>
                <c:pt idx="52">
                  <c:v>330.41698779815471</c:v>
                </c:pt>
                <c:pt idx="53">
                  <c:v>335.89762948560826</c:v>
                </c:pt>
                <c:pt idx="54">
                  <c:v>340.86803567908839</c:v>
                </c:pt>
                <c:pt idx="55">
                  <c:v>345.64799778474782</c:v>
                </c:pt>
                <c:pt idx="56">
                  <c:v>350.34440786924125</c:v>
                </c:pt>
                <c:pt idx="57">
                  <c:v>355.00522616489945</c:v>
                </c:pt>
                <c:pt idx="58">
                  <c:v>359.59349894316438</c:v>
                </c:pt>
                <c:pt idx="59">
                  <c:v>364.05462187764533</c:v>
                </c:pt>
                <c:pt idx="60">
                  <c:v>368.16173866842053</c:v>
                </c:pt>
                <c:pt idx="61">
                  <c:v>371.95370190844051</c:v>
                </c:pt>
                <c:pt idx="62">
                  <c:v>375.47836050050796</c:v>
                </c:pt>
                <c:pt idx="63">
                  <c:v>378.76057488254685</c:v>
                </c:pt>
                <c:pt idx="64">
                  <c:v>381.76594101781984</c:v>
                </c:pt>
                <c:pt idx="65">
                  <c:v>384.55481999645394</c:v>
                </c:pt>
                <c:pt idx="66">
                  <c:v>387.07851580847739</c:v>
                </c:pt>
                <c:pt idx="67">
                  <c:v>389.34984446174093</c:v>
                </c:pt>
                <c:pt idx="68">
                  <c:v>391.27588111957789</c:v>
                </c:pt>
                <c:pt idx="69">
                  <c:v>392.89943767260979</c:v>
                </c:pt>
                <c:pt idx="70">
                  <c:v>394.25506403729003</c:v>
                </c:pt>
                <c:pt idx="71">
                  <c:v>395.20875298762502</c:v>
                </c:pt>
                <c:pt idx="72">
                  <c:v>395.85436036951404</c:v>
                </c:pt>
                <c:pt idx="73">
                  <c:v>396.20433064284373</c:v>
                </c:pt>
                <c:pt idx="74">
                  <c:v>396.20184730065012</c:v>
                </c:pt>
                <c:pt idx="75">
                  <c:v>395.86595364794351</c:v>
                </c:pt>
                <c:pt idx="76">
                  <c:v>395.20795883557446</c:v>
                </c:pt>
                <c:pt idx="77">
                  <c:v>394.25383640047374</c:v>
                </c:pt>
                <c:pt idx="78">
                  <c:v>392.91257698156346</c:v>
                </c:pt>
                <c:pt idx="79">
                  <c:v>391.26566529200051</c:v>
                </c:pt>
                <c:pt idx="80">
                  <c:v>389.31538755459621</c:v>
                </c:pt>
                <c:pt idx="81">
                  <c:v>387.01550205732588</c:v>
                </c:pt>
                <c:pt idx="82">
                  <c:v>384.37515321084334</c:v>
                </c:pt>
                <c:pt idx="83">
                  <c:v>381.47493869580887</c:v>
                </c:pt>
                <c:pt idx="84">
                  <c:v>378.28573871086257</c:v>
                </c:pt>
                <c:pt idx="85">
                  <c:v>374.74953877227074</c:v>
                </c:pt>
                <c:pt idx="86">
                  <c:v>371.00604413318399</c:v>
                </c:pt>
                <c:pt idx="87">
                  <c:v>367.02543077234304</c:v>
                </c:pt>
                <c:pt idx="88">
                  <c:v>362.67019061577901</c:v>
                </c:pt>
                <c:pt idx="89">
                  <c:v>358.12366313095657</c:v>
                </c:pt>
                <c:pt idx="90">
                  <c:v>353.38873294451963</c:v>
                </c:pt>
                <c:pt idx="91">
                  <c:v>348.43098256451879</c:v>
                </c:pt>
                <c:pt idx="92">
                  <c:v>343.18309964268383</c:v>
                </c:pt>
                <c:pt idx="93">
                  <c:v>337.74124383248096</c:v>
                </c:pt>
                <c:pt idx="94">
                  <c:v>332.14710063718866</c:v>
                </c:pt>
                <c:pt idx="95">
                  <c:v>326.380083788831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59.36165607859203</c:v>
                </c:pt>
                <c:pt idx="43">
                  <c:v>268.52589386450165</c:v>
                </c:pt>
                <c:pt idx="44">
                  <c:v>277.89683999364587</c:v>
                </c:pt>
                <c:pt idx="45">
                  <c:v>287.15927138232161</c:v>
                </c:pt>
                <c:pt idx="46">
                  <c:v>296.02090582983544</c:v>
                </c:pt>
                <c:pt idx="47">
                  <c:v>304.62941817008283</c:v>
                </c:pt>
                <c:pt idx="48">
                  <c:v>313.2826035219008</c:v>
                </c:pt>
                <c:pt idx="49">
                  <c:v>322.10151012425695</c:v>
                </c:pt>
                <c:pt idx="50">
                  <c:v>331.04521186808148</c:v>
                </c:pt>
                <c:pt idx="51">
                  <c:v>340.44807672970978</c:v>
                </c:pt>
                <c:pt idx="52">
                  <c:v>349.86948102665866</c:v>
                </c:pt>
                <c:pt idx="53">
                  <c:v>358.53947555785777</c:v>
                </c:pt>
                <c:pt idx="54">
                  <c:v>366.91414255512871</c:v>
                </c:pt>
                <c:pt idx="55">
                  <c:v>375.30070739947826</c:v>
                </c:pt>
                <c:pt idx="56">
                  <c:v>383.7878327416791</c:v>
                </c:pt>
                <c:pt idx="57">
                  <c:v>392.3893487246736</c:v>
                </c:pt>
                <c:pt idx="58">
                  <c:v>401.05751742790534</c:v>
                </c:pt>
                <c:pt idx="59">
                  <c:v>409.72129258908274</c:v>
                </c:pt>
                <c:pt idx="60">
                  <c:v>418.14267268202946</c:v>
                </c:pt>
                <c:pt idx="61">
                  <c:v>426.33808761503656</c:v>
                </c:pt>
                <c:pt idx="62">
                  <c:v>434.33882763930239</c:v>
                </c:pt>
                <c:pt idx="63">
                  <c:v>442.14972553538439</c:v>
                </c:pt>
                <c:pt idx="64">
                  <c:v>449.71275354449506</c:v>
                </c:pt>
                <c:pt idx="65">
                  <c:v>457.06727460214438</c:v>
                </c:pt>
                <c:pt idx="66">
                  <c:v>464.14751828273609</c:v>
                </c:pt>
                <c:pt idx="67">
                  <c:v>470.94642717797677</c:v>
                </c:pt>
                <c:pt idx="68">
                  <c:v>477.35332772077692</c:v>
                </c:pt>
                <c:pt idx="69">
                  <c:v>483.392566023521</c:v>
                </c:pt>
                <c:pt idx="70">
                  <c:v>489.07946935604969</c:v>
                </c:pt>
                <c:pt idx="71">
                  <c:v>494.26171915532916</c:v>
                </c:pt>
                <c:pt idx="72">
                  <c:v>499.01424100803359</c:v>
                </c:pt>
                <c:pt idx="73">
                  <c:v>503.33313933600692</c:v>
                </c:pt>
                <c:pt idx="74">
                  <c:v>507.14586015700331</c:v>
                </c:pt>
                <c:pt idx="75">
                  <c:v>510.45623017031221</c:v>
                </c:pt>
                <c:pt idx="76">
                  <c:v>513.26129322674228</c:v>
                </c:pt>
                <c:pt idx="77">
                  <c:v>515.5748312759722</c:v>
                </c:pt>
                <c:pt idx="78">
                  <c:v>517.2936394107013</c:v>
                </c:pt>
                <c:pt idx="79">
                  <c:v>518.48908739383796</c:v>
                </c:pt>
                <c:pt idx="80">
                  <c:v>519.15427057898808</c:v>
                </c:pt>
                <c:pt idx="81">
                  <c:v>519.23505132333412</c:v>
                </c:pt>
                <c:pt idx="82">
                  <c:v>518.7334951786961</c:v>
                </c:pt>
                <c:pt idx="83">
                  <c:v>517.72530480864089</c:v>
                </c:pt>
                <c:pt idx="84">
                  <c:v>516.17749948480377</c:v>
                </c:pt>
                <c:pt idx="85">
                  <c:v>514.02956077045951</c:v>
                </c:pt>
                <c:pt idx="86">
                  <c:v>511.42003111561201</c:v>
                </c:pt>
                <c:pt idx="87">
                  <c:v>508.319212122561</c:v>
                </c:pt>
                <c:pt idx="88">
                  <c:v>504.59045577522022</c:v>
                </c:pt>
                <c:pt idx="89">
                  <c:v>500.42000423608408</c:v>
                </c:pt>
                <c:pt idx="90">
                  <c:v>495.81395441864322</c:v>
                </c:pt>
                <c:pt idx="91">
                  <c:v>490.74251888095546</c:v>
                </c:pt>
                <c:pt idx="92">
                  <c:v>485.13715920904826</c:v>
                </c:pt>
                <c:pt idx="93">
                  <c:v>479.10525475125377</c:v>
                </c:pt>
                <c:pt idx="94">
                  <c:v>472.69582906644166</c:v>
                </c:pt>
                <c:pt idx="95">
                  <c:v>465.896445916161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59.95905510030877</c:v>
                </c:pt>
                <c:pt idx="43">
                  <c:v>269.9394935015672</c:v>
                </c:pt>
                <c:pt idx="44">
                  <c:v>280.36477351228456</c:v>
                </c:pt>
                <c:pt idx="45">
                  <c:v>290.93044123383197</c:v>
                </c:pt>
                <c:pt idx="46">
                  <c:v>301.36071547038728</c:v>
                </c:pt>
                <c:pt idx="47">
                  <c:v>311.80794522012695</c:v>
                </c:pt>
                <c:pt idx="48">
                  <c:v>322.57893124275472</c:v>
                </c:pt>
                <c:pt idx="49">
                  <c:v>333.79445038546669</c:v>
                </c:pt>
                <c:pt idx="50">
                  <c:v>345.41817089562096</c:v>
                </c:pt>
                <c:pt idx="51">
                  <c:v>357.78217537407772</c:v>
                </c:pt>
                <c:pt idx="52">
                  <c:v>370.44681239574697</c:v>
                </c:pt>
                <c:pt idx="53">
                  <c:v>382.63748850500502</c:v>
                </c:pt>
                <c:pt idx="54">
                  <c:v>394.80670142698125</c:v>
                </c:pt>
                <c:pt idx="55">
                  <c:v>407.25254186975764</c:v>
                </c:pt>
                <c:pt idx="56">
                  <c:v>420.04817655996322</c:v>
                </c:pt>
                <c:pt idx="57">
                  <c:v>433.17511161543081</c:v>
                </c:pt>
                <c:pt idx="58">
                  <c:v>446.57580066173142</c:v>
                </c:pt>
                <c:pt idx="59">
                  <c:v>460.16277064597915</c:v>
                </c:pt>
                <c:pt idx="60">
                  <c:v>473.68585770949028</c:v>
                </c:pt>
                <c:pt idx="61">
                  <c:v>487.13693863310618</c:v>
                </c:pt>
                <c:pt idx="62">
                  <c:v>500.52752414998042</c:v>
                </c:pt>
                <c:pt idx="63">
                  <c:v>513.83811128352784</c:v>
                </c:pt>
                <c:pt idx="64">
                  <c:v>526.98165301328277</c:v>
                </c:pt>
                <c:pt idx="65">
                  <c:v>539.97019586602039</c:v>
                </c:pt>
                <c:pt idx="66">
                  <c:v>552.71371767785229</c:v>
                </c:pt>
                <c:pt idx="67">
                  <c:v>565.1771482655854</c:v>
                </c:pt>
                <c:pt idx="68">
                  <c:v>577.22310240886657</c:v>
                </c:pt>
                <c:pt idx="69">
                  <c:v>588.84777644799885</c:v>
                </c:pt>
                <c:pt idx="70">
                  <c:v>600.03700432404298</c:v>
                </c:pt>
                <c:pt idx="71">
                  <c:v>610.60943049198079</c:v>
                </c:pt>
                <c:pt idx="72">
                  <c:v>620.61005580471465</c:v>
                </c:pt>
                <c:pt idx="73">
                  <c:v>630.00752265198707</c:v>
                </c:pt>
                <c:pt idx="74">
                  <c:v>638.70240358248384</c:v>
                </c:pt>
                <c:pt idx="75">
                  <c:v>646.67230644540552</c:v>
                </c:pt>
                <c:pt idx="76">
                  <c:v>653.8892958258715</c:v>
                </c:pt>
                <c:pt idx="77">
                  <c:v>660.34468991956396</c:v>
                </c:pt>
                <c:pt idx="78">
                  <c:v>665.91339647903044</c:v>
                </c:pt>
                <c:pt idx="79">
                  <c:v>670.6476958044949</c:v>
                </c:pt>
                <c:pt idx="80">
                  <c:v>674.52334560484837</c:v>
                </c:pt>
                <c:pt idx="81">
                  <c:v>677.47109908617642</c:v>
                </c:pt>
                <c:pt idx="82">
                  <c:v>679.47975635845637</c:v>
                </c:pt>
                <c:pt idx="83">
                  <c:v>680.61504646358321</c:v>
                </c:pt>
                <c:pt idx="84">
                  <c:v>680.83621390987526</c:v>
                </c:pt>
                <c:pt idx="85">
                  <c:v>680.07752649157896</c:v>
                </c:pt>
                <c:pt idx="86">
                  <c:v>678.47487853203359</c:v>
                </c:pt>
                <c:pt idx="87">
                  <c:v>675.99843581063749</c:v>
                </c:pt>
                <c:pt idx="88">
                  <c:v>672.51335459662153</c:v>
                </c:pt>
                <c:pt idx="89">
                  <c:v>668.2109037456737</c:v>
                </c:pt>
                <c:pt idx="90">
                  <c:v>663.10364436660063</c:v>
                </c:pt>
                <c:pt idx="91">
                  <c:v>657.17073978530266</c:v>
                </c:pt>
                <c:pt idx="92">
                  <c:v>650.347696510427</c:v>
                </c:pt>
                <c:pt idx="93">
                  <c:v>642.75930750116538</c:v>
                </c:pt>
                <c:pt idx="94">
                  <c:v>634.4689192133269</c:v>
                </c:pt>
                <c:pt idx="95">
                  <c:v>625.479929434876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5</c:v>
                </c:pt>
                <c:pt idx="1">
                  <c:v>15</c:v>
                </c:pt>
                <c:pt idx="2">
                  <c:v>14</c:v>
                </c:pt>
                <c:pt idx="3">
                  <c:v>14</c:v>
                </c:pt>
                <c:pt idx="4">
                  <c:v>14</c:v>
                </c:pt>
                <c:pt idx="5">
                  <c:v>14</c:v>
                </c:pt>
                <c:pt idx="6">
                  <c:v>15</c:v>
                </c:pt>
                <c:pt idx="7">
                  <c:v>13</c:v>
                </c:pt>
                <c:pt idx="8">
                  <c:v>16</c:v>
                </c:pt>
                <c:pt idx="9">
                  <c:v>19</c:v>
                </c:pt>
                <c:pt idx="10">
                  <c:v>18</c:v>
                </c:pt>
                <c:pt idx="11">
                  <c:v>20</c:v>
                </c:pt>
                <c:pt idx="12">
                  <c:v>22</c:v>
                </c:pt>
                <c:pt idx="13">
                  <c:v>26</c:v>
                </c:pt>
                <c:pt idx="14">
                  <c:v>24</c:v>
                </c:pt>
                <c:pt idx="15">
                  <c:v>21</c:v>
                </c:pt>
                <c:pt idx="16">
                  <c:v>24</c:v>
                </c:pt>
                <c:pt idx="17">
                  <c:v>26</c:v>
                </c:pt>
                <c:pt idx="18">
                  <c:v>32</c:v>
                </c:pt>
                <c:pt idx="19">
                  <c:v>30</c:v>
                </c:pt>
                <c:pt idx="20">
                  <c:v>35</c:v>
                </c:pt>
                <c:pt idx="21">
                  <c:v>36</c:v>
                </c:pt>
                <c:pt idx="22">
                  <c:v>32</c:v>
                </c:pt>
                <c:pt idx="23">
                  <c:v>37</c:v>
                </c:pt>
                <c:pt idx="24">
                  <c:v>41</c:v>
                </c:pt>
                <c:pt idx="25">
                  <c:v>46</c:v>
                </c:pt>
                <c:pt idx="26">
                  <c:v>48</c:v>
                </c:pt>
                <c:pt idx="27">
                  <c:v>52</c:v>
                </c:pt>
                <c:pt idx="28">
                  <c:v>65</c:v>
                </c:pt>
                <c:pt idx="29">
                  <c:v>66</c:v>
                </c:pt>
                <c:pt idx="30">
                  <c:v>77</c:v>
                </c:pt>
                <c:pt idx="31">
                  <c:v>98</c:v>
                </c:pt>
                <c:pt idx="32">
                  <c:v>110</c:v>
                </c:pt>
                <c:pt idx="33">
                  <c:v>120</c:v>
                </c:pt>
                <c:pt idx="34">
                  <c:v>132</c:v>
                </c:pt>
                <c:pt idx="35">
                  <c:v>147</c:v>
                </c:pt>
                <c:pt idx="36">
                  <c:v>152</c:v>
                </c:pt>
                <c:pt idx="37">
                  <c:v>152</c:v>
                </c:pt>
                <c:pt idx="38">
                  <c:v>176</c:v>
                </c:pt>
                <c:pt idx="39">
                  <c:v>190</c:v>
                </c:pt>
                <c:pt idx="40">
                  <c:v>199</c:v>
                </c:pt>
                <c:pt idx="41">
                  <c:v>204</c:v>
                </c:pt>
                <c:pt idx="42">
                  <c:v>219</c:v>
                </c:pt>
                <c:pt idx="43">
                  <c:v>196</c:v>
                </c:pt>
                <c:pt idx="44">
                  <c:v>208</c:v>
                </c:pt>
                <c:pt idx="45">
                  <c:v>243</c:v>
                </c:pt>
                <c:pt idx="46">
                  <c:v>239</c:v>
                </c:pt>
                <c:pt idx="47">
                  <c:v>244</c:v>
                </c:pt>
                <c:pt idx="48">
                  <c:v>255</c:v>
                </c:pt>
                <c:pt idx="49">
                  <c:v>248</c:v>
                </c:pt>
                <c:pt idx="50">
                  <c:v>2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92.32471819068647</c:v>
                </c:pt>
                <c:pt idx="43">
                  <c:v>198.59729059389787</c:v>
                </c:pt>
                <c:pt idx="44">
                  <c:v>204.8526029043569</c:v>
                </c:pt>
                <c:pt idx="45">
                  <c:v>210.85511791543206</c:v>
                </c:pt>
                <c:pt idx="46">
                  <c:v>216.38405228310515</c:v>
                </c:pt>
                <c:pt idx="47">
                  <c:v>221.54327769485144</c:v>
                </c:pt>
                <c:pt idx="48">
                  <c:v>226.54285688943008</c:v>
                </c:pt>
                <c:pt idx="49">
                  <c:v>231.47785536818634</c:v>
                </c:pt>
                <c:pt idx="50">
                  <c:v>236.321141540089</c:v>
                </c:pt>
                <c:pt idx="51">
                  <c:v>241.32315260827207</c:v>
                </c:pt>
                <c:pt idx="52">
                  <c:v>246.16008944753639</c:v>
                </c:pt>
                <c:pt idx="53">
                  <c:v>250.27314701893289</c:v>
                </c:pt>
                <c:pt idx="54">
                  <c:v>254.00798407501821</c:v>
                </c:pt>
                <c:pt idx="55">
                  <c:v>257.59561179690434</c:v>
                </c:pt>
                <c:pt idx="56">
                  <c:v>261.11540491680216</c:v>
                </c:pt>
                <c:pt idx="57">
                  <c:v>264.6001011760373</c:v>
                </c:pt>
                <c:pt idx="58">
                  <c:v>268.02770786567163</c:v>
                </c:pt>
                <c:pt idx="59">
                  <c:v>271.35721302249101</c:v>
                </c:pt>
                <c:pt idx="60">
                  <c:v>274.41708511131651</c:v>
                </c:pt>
                <c:pt idx="61">
                  <c:v>277.24157967734999</c:v>
                </c:pt>
                <c:pt idx="62">
                  <c:v>279.86414008802768</c:v>
                </c:pt>
                <c:pt idx="63">
                  <c:v>282.30369160310937</c:v>
                </c:pt>
                <c:pt idx="64">
                  <c:v>284.53541193807189</c:v>
                </c:pt>
                <c:pt idx="65">
                  <c:v>286.60405547883209</c:v>
                </c:pt>
                <c:pt idx="66">
                  <c:v>288.4737059381207</c:v>
                </c:pt>
                <c:pt idx="67">
                  <c:v>290.15262547134893</c:v>
                </c:pt>
                <c:pt idx="68">
                  <c:v>291.57367196693082</c:v>
                </c:pt>
                <c:pt idx="69">
                  <c:v>292.76699373446161</c:v>
                </c:pt>
                <c:pt idx="70">
                  <c:v>293.7604455725679</c:v>
                </c:pt>
                <c:pt idx="71">
                  <c:v>294.4543542113239</c:v>
                </c:pt>
                <c:pt idx="72">
                  <c:v>294.91894608718746</c:v>
                </c:pt>
                <c:pt idx="73">
                  <c:v>295.162625117483</c:v>
                </c:pt>
                <c:pt idx="74">
                  <c:v>295.14171850535627</c:v>
                </c:pt>
                <c:pt idx="75">
                  <c:v>294.87209083955776</c:v>
                </c:pt>
                <c:pt idx="76">
                  <c:v>294.36119988778512</c:v>
                </c:pt>
                <c:pt idx="77">
                  <c:v>293.63048307145021</c:v>
                </c:pt>
                <c:pt idx="78">
                  <c:v>292.61094319790584</c:v>
                </c:pt>
                <c:pt idx="79">
                  <c:v>291.36486543353817</c:v>
                </c:pt>
                <c:pt idx="80">
                  <c:v>289.89219703439647</c:v>
                </c:pt>
                <c:pt idx="81">
                  <c:v>288.15653823362027</c:v>
                </c:pt>
                <c:pt idx="82">
                  <c:v>286.16790591433306</c:v>
                </c:pt>
                <c:pt idx="83">
                  <c:v>283.985515996549</c:v>
                </c:pt>
                <c:pt idx="84">
                  <c:v>281.58805380037671</c:v>
                </c:pt>
                <c:pt idx="85">
                  <c:v>278.93347720844116</c:v>
                </c:pt>
                <c:pt idx="86">
                  <c:v>276.1260532181268</c:v>
                </c:pt>
                <c:pt idx="87">
                  <c:v>273.14269605658495</c:v>
                </c:pt>
                <c:pt idx="88">
                  <c:v>269.87638638827389</c:v>
                </c:pt>
                <c:pt idx="89">
                  <c:v>266.46845817233401</c:v>
                </c:pt>
                <c:pt idx="90">
                  <c:v>262.920745744432</c:v>
                </c:pt>
                <c:pt idx="91">
                  <c:v>259.2071713206887</c:v>
                </c:pt>
                <c:pt idx="92">
                  <c:v>255.27843158281249</c:v>
                </c:pt>
                <c:pt idx="93">
                  <c:v>251.20554534225369</c:v>
                </c:pt>
                <c:pt idx="94">
                  <c:v>247.01902223842268</c:v>
                </c:pt>
                <c:pt idx="95">
                  <c:v>242.70402348125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92.77030534551758</c:v>
                </c:pt>
                <c:pt idx="43">
                  <c:v>199.6483020069866</c:v>
                </c:pt>
                <c:pt idx="44">
                  <c:v>206.68024516774281</c:v>
                </c:pt>
                <c:pt idx="45">
                  <c:v>213.63515637827231</c:v>
                </c:pt>
                <c:pt idx="46">
                  <c:v>220.30103547759182</c:v>
                </c:pt>
                <c:pt idx="47">
                  <c:v>226.78119581055984</c:v>
                </c:pt>
                <c:pt idx="48">
                  <c:v>233.28831128625623</c:v>
                </c:pt>
                <c:pt idx="49">
                  <c:v>239.91308100722912</c:v>
                </c:pt>
                <c:pt idx="50">
                  <c:v>246.62764228798005</c:v>
                </c:pt>
                <c:pt idx="51">
                  <c:v>253.67667301576014</c:v>
                </c:pt>
                <c:pt idx="52">
                  <c:v>260.73317762479087</c:v>
                </c:pt>
                <c:pt idx="53">
                  <c:v>267.23143239784099</c:v>
                </c:pt>
                <c:pt idx="54">
                  <c:v>273.51136790480757</c:v>
                </c:pt>
                <c:pt idx="55">
                  <c:v>279.79435268180339</c:v>
                </c:pt>
                <c:pt idx="56">
                  <c:v>286.14599799568958</c:v>
                </c:pt>
                <c:pt idx="57">
                  <c:v>292.57363077681453</c:v>
                </c:pt>
                <c:pt idx="58">
                  <c:v>299.04715782207785</c:v>
                </c:pt>
                <c:pt idx="59">
                  <c:v>305.51325025766357</c:v>
                </c:pt>
                <c:pt idx="60">
                  <c:v>311.79197585274756</c:v>
                </c:pt>
                <c:pt idx="61">
                  <c:v>317.90085433681656</c:v>
                </c:pt>
                <c:pt idx="62">
                  <c:v>323.86092936454492</c:v>
                </c:pt>
                <c:pt idx="63">
                  <c:v>329.6762904328034</c:v>
                </c:pt>
                <c:pt idx="64">
                  <c:v>335.30435077186826</c:v>
                </c:pt>
                <c:pt idx="65">
                  <c:v>340.77428862059486</c:v>
                </c:pt>
                <c:pt idx="66">
                  <c:v>346.03746424154099</c:v>
                </c:pt>
                <c:pt idx="67">
                  <c:v>351.0873526470948</c:v>
                </c:pt>
                <c:pt idx="68">
                  <c:v>355.84361143372894</c:v>
                </c:pt>
                <c:pt idx="69">
                  <c:v>360.32264505612352</c:v>
                </c:pt>
                <c:pt idx="70">
                  <c:v>364.53802557581992</c:v>
                </c:pt>
                <c:pt idx="71">
                  <c:v>368.37644941724704</c:v>
                </c:pt>
                <c:pt idx="72">
                  <c:v>371.89409270097997</c:v>
                </c:pt>
                <c:pt idx="73">
                  <c:v>375.08716596203311</c:v>
                </c:pt>
                <c:pt idx="74">
                  <c:v>377.90036661622651</c:v>
                </c:pt>
                <c:pt idx="75">
                  <c:v>380.3382787130642</c:v>
                </c:pt>
                <c:pt idx="76">
                  <c:v>382.3977928872248</c:v>
                </c:pt>
                <c:pt idx="77">
                  <c:v>384.0913117512722</c:v>
                </c:pt>
                <c:pt idx="78">
                  <c:v>385.34079765863811</c:v>
                </c:pt>
                <c:pt idx="79">
                  <c:v>386.20107533479785</c:v>
                </c:pt>
                <c:pt idx="80">
                  <c:v>386.66531146965275</c:v>
                </c:pt>
                <c:pt idx="81">
                  <c:v>386.69129242825863</c:v>
                </c:pt>
                <c:pt idx="82">
                  <c:v>386.2838142053306</c:v>
                </c:pt>
                <c:pt idx="83">
                  <c:v>385.4985265043772</c:v>
                </c:pt>
                <c:pt idx="84">
                  <c:v>384.31130793562841</c:v>
                </c:pt>
                <c:pt idx="85">
                  <c:v>382.67832014547946</c:v>
                </c:pt>
                <c:pt idx="86">
                  <c:v>380.70303214014871</c:v>
                </c:pt>
                <c:pt idx="87">
                  <c:v>378.36251849894882</c:v>
                </c:pt>
                <c:pt idx="88">
                  <c:v>375.5504485320277</c:v>
                </c:pt>
                <c:pt idx="89">
                  <c:v>372.41039138364681</c:v>
                </c:pt>
                <c:pt idx="90">
                  <c:v>368.94661640673644</c:v>
                </c:pt>
                <c:pt idx="91">
                  <c:v>365.13654404458799</c:v>
                </c:pt>
                <c:pt idx="92">
                  <c:v>360.9297780485432</c:v>
                </c:pt>
                <c:pt idx="93">
                  <c:v>356.4058867862006</c:v>
                </c:pt>
                <c:pt idx="94">
                  <c:v>351.60087825962273</c:v>
                </c:pt>
                <c:pt idx="95">
                  <c:v>346.506013168789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93.21872974169497</c:v>
                </c:pt>
                <c:pt idx="43">
                  <c:v>200.70944011973179</c:v>
                </c:pt>
                <c:pt idx="44">
                  <c:v>208.5325996462791</c:v>
                </c:pt>
                <c:pt idx="45">
                  <c:v>216.46505351134289</c:v>
                </c:pt>
                <c:pt idx="46">
                  <c:v>224.30719771780656</c:v>
                </c:pt>
                <c:pt idx="47">
                  <c:v>232.16561278822479</c:v>
                </c:pt>
                <c:pt idx="48">
                  <c:v>240.2595799663153</c:v>
                </c:pt>
                <c:pt idx="49">
                  <c:v>248.67947575890946</c:v>
                </c:pt>
                <c:pt idx="50">
                  <c:v>257.40072947566347</c:v>
                </c:pt>
                <c:pt idx="51">
                  <c:v>266.66615499513654</c:v>
                </c:pt>
                <c:pt idx="52">
                  <c:v>276.14926147067791</c:v>
                </c:pt>
                <c:pt idx="53">
                  <c:v>285.28078821147346</c:v>
                </c:pt>
                <c:pt idx="54">
                  <c:v>294.39794417436451</c:v>
                </c:pt>
                <c:pt idx="55">
                  <c:v>303.71499022043895</c:v>
                </c:pt>
                <c:pt idx="56">
                  <c:v>313.28578375001121</c:v>
                </c:pt>
                <c:pt idx="57">
                  <c:v>323.09355461727932</c:v>
                </c:pt>
                <c:pt idx="58">
                  <c:v>333.10079973685151</c:v>
                </c:pt>
                <c:pt idx="59">
                  <c:v>343.24184483572685</c:v>
                </c:pt>
                <c:pt idx="60">
                  <c:v>353.32755607796707</c:v>
                </c:pt>
                <c:pt idx="61">
                  <c:v>363.3570848965428</c:v>
                </c:pt>
                <c:pt idx="62">
                  <c:v>373.33662853683393</c:v>
                </c:pt>
                <c:pt idx="63">
                  <c:v>383.25218410686369</c:v>
                </c:pt>
                <c:pt idx="64">
                  <c:v>393.03933266300305</c:v>
                </c:pt>
                <c:pt idx="65">
                  <c:v>402.70692357356711</c:v>
                </c:pt>
                <c:pt idx="66">
                  <c:v>412.1882037846575</c:v>
                </c:pt>
                <c:pt idx="67">
                  <c:v>421.45575820903593</c:v>
                </c:pt>
                <c:pt idx="68">
                  <c:v>430.40933216085523</c:v>
                </c:pt>
                <c:pt idx="69">
                  <c:v>439.0443421136481</c:v>
                </c:pt>
                <c:pt idx="70">
                  <c:v>447.35240195650306</c:v>
                </c:pt>
                <c:pt idx="71">
                  <c:v>455.19856914261391</c:v>
                </c:pt>
                <c:pt idx="72">
                  <c:v>462.61676747352061</c:v>
                </c:pt>
                <c:pt idx="73">
                  <c:v>469.58272397342398</c:v>
                </c:pt>
                <c:pt idx="74">
                  <c:v>476.02121346540309</c:v>
                </c:pt>
                <c:pt idx="75">
                  <c:v>481.91735373408221</c:v>
                </c:pt>
                <c:pt idx="76">
                  <c:v>487.24950486757871</c:v>
                </c:pt>
                <c:pt idx="77">
                  <c:v>492.01340773329377</c:v>
                </c:pt>
                <c:pt idx="78">
                  <c:v>496.11479658280064</c:v>
                </c:pt>
                <c:pt idx="79">
                  <c:v>499.59438901962596</c:v>
                </c:pt>
                <c:pt idx="80">
                  <c:v>502.43254714392708</c:v>
                </c:pt>
                <c:pt idx="81">
                  <c:v>504.57592029694945</c:v>
                </c:pt>
                <c:pt idx="82">
                  <c:v>506.0195297412082</c:v>
                </c:pt>
                <c:pt idx="83">
                  <c:v>506.81173430257826</c:v>
                </c:pt>
                <c:pt idx="84">
                  <c:v>506.92275177133621</c:v>
                </c:pt>
                <c:pt idx="85">
                  <c:v>506.30499233433591</c:v>
                </c:pt>
                <c:pt idx="86">
                  <c:v>505.06008497901104</c:v>
                </c:pt>
                <c:pt idx="87">
                  <c:v>503.16513438780908</c:v>
                </c:pt>
                <c:pt idx="88">
                  <c:v>500.51526544290078</c:v>
                </c:pt>
                <c:pt idx="89">
                  <c:v>497.2579265270416</c:v>
                </c:pt>
                <c:pt idx="90">
                  <c:v>493.40230348157598</c:v>
                </c:pt>
                <c:pt idx="91">
                  <c:v>488.93258915174033</c:v>
                </c:pt>
                <c:pt idx="92">
                  <c:v>483.80127078904661</c:v>
                </c:pt>
                <c:pt idx="93">
                  <c:v>478.10112598130468</c:v>
                </c:pt>
                <c:pt idx="94">
                  <c:v>471.87890395823854</c:v>
                </c:pt>
                <c:pt idx="95">
                  <c:v>465.13772258958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5</c:v>
                </c:pt>
                <c:pt idx="1">
                  <c:v>6</c:v>
                </c:pt>
                <c:pt idx="2">
                  <c:v>5</c:v>
                </c:pt>
                <c:pt idx="3">
                  <c:v>4</c:v>
                </c:pt>
                <c:pt idx="4">
                  <c:v>3</c:v>
                </c:pt>
                <c:pt idx="5">
                  <c:v>4</c:v>
                </c:pt>
                <c:pt idx="6">
                  <c:v>4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5</c:v>
                </c:pt>
                <c:pt idx="12">
                  <c:v>6</c:v>
                </c:pt>
                <c:pt idx="13">
                  <c:v>8</c:v>
                </c:pt>
                <c:pt idx="14">
                  <c:v>9</c:v>
                </c:pt>
                <c:pt idx="15">
                  <c:v>8</c:v>
                </c:pt>
                <c:pt idx="16">
                  <c:v>8</c:v>
                </c:pt>
                <c:pt idx="17">
                  <c:v>11</c:v>
                </c:pt>
                <c:pt idx="18">
                  <c:v>13</c:v>
                </c:pt>
                <c:pt idx="19">
                  <c:v>13</c:v>
                </c:pt>
                <c:pt idx="20">
                  <c:v>14</c:v>
                </c:pt>
                <c:pt idx="21">
                  <c:v>14</c:v>
                </c:pt>
                <c:pt idx="22">
                  <c:v>16</c:v>
                </c:pt>
                <c:pt idx="23">
                  <c:v>15</c:v>
                </c:pt>
                <c:pt idx="24">
                  <c:v>17</c:v>
                </c:pt>
                <c:pt idx="25">
                  <c:v>14</c:v>
                </c:pt>
                <c:pt idx="26">
                  <c:v>12</c:v>
                </c:pt>
                <c:pt idx="27">
                  <c:v>13</c:v>
                </c:pt>
                <c:pt idx="28">
                  <c:v>10</c:v>
                </c:pt>
                <c:pt idx="29">
                  <c:v>12</c:v>
                </c:pt>
                <c:pt idx="30">
                  <c:v>14</c:v>
                </c:pt>
                <c:pt idx="31">
                  <c:v>11</c:v>
                </c:pt>
                <c:pt idx="32">
                  <c:v>16</c:v>
                </c:pt>
                <c:pt idx="33">
                  <c:v>19</c:v>
                </c:pt>
                <c:pt idx="34">
                  <c:v>19</c:v>
                </c:pt>
                <c:pt idx="35">
                  <c:v>21</c:v>
                </c:pt>
                <c:pt idx="36">
                  <c:v>24</c:v>
                </c:pt>
                <c:pt idx="37">
                  <c:v>24</c:v>
                </c:pt>
                <c:pt idx="38">
                  <c:v>30</c:v>
                </c:pt>
                <c:pt idx="39">
                  <c:v>33</c:v>
                </c:pt>
                <c:pt idx="40">
                  <c:v>39</c:v>
                </c:pt>
                <c:pt idx="41">
                  <c:v>46</c:v>
                </c:pt>
                <c:pt idx="42">
                  <c:v>47</c:v>
                </c:pt>
                <c:pt idx="43">
                  <c:v>36</c:v>
                </c:pt>
                <c:pt idx="44">
                  <c:v>35</c:v>
                </c:pt>
                <c:pt idx="45">
                  <c:v>44</c:v>
                </c:pt>
                <c:pt idx="46">
                  <c:v>49</c:v>
                </c:pt>
                <c:pt idx="47">
                  <c:v>47</c:v>
                </c:pt>
                <c:pt idx="48">
                  <c:v>52</c:v>
                </c:pt>
                <c:pt idx="49">
                  <c:v>49</c:v>
                </c:pt>
                <c:pt idx="50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6.03135437414246</c:v>
                </c:pt>
                <c:pt idx="43">
                  <c:v>37.186046663390854</c:v>
                </c:pt>
                <c:pt idx="44">
                  <c:v>38.337885616221357</c:v>
                </c:pt>
                <c:pt idx="45">
                  <c:v>39.441562555357692</c:v>
                </c:pt>
                <c:pt idx="46">
                  <c:v>40.453989256369596</c:v>
                </c:pt>
                <c:pt idx="47">
                  <c:v>41.396713634657388</c:v>
                </c:pt>
                <c:pt idx="48">
                  <c:v>42.311963774890877</c:v>
                </c:pt>
                <c:pt idx="49">
                  <c:v>43.217255560965285</c:v>
                </c:pt>
                <c:pt idx="50">
                  <c:v>44.106599685186183</c:v>
                </c:pt>
                <c:pt idx="51">
                  <c:v>45.028144534496896</c:v>
                </c:pt>
                <c:pt idx="52">
                  <c:v>45.920987514335032</c:v>
                </c:pt>
                <c:pt idx="53">
                  <c:v>46.678215243958704</c:v>
                </c:pt>
                <c:pt idx="54">
                  <c:v>47.36424746743765</c:v>
                </c:pt>
                <c:pt idx="55">
                  <c:v>48.024605521297033</c:v>
                </c:pt>
                <c:pt idx="56">
                  <c:v>48.674183816046522</c:v>
                </c:pt>
                <c:pt idx="57">
                  <c:v>49.320093446427052</c:v>
                </c:pt>
                <c:pt idx="58">
                  <c:v>49.956373970770478</c:v>
                </c:pt>
                <c:pt idx="59">
                  <c:v>50.575485955108519</c:v>
                </c:pt>
                <c:pt idx="60">
                  <c:v>51.146277019676901</c:v>
                </c:pt>
                <c:pt idx="61">
                  <c:v>51.673356053630158</c:v>
                </c:pt>
                <c:pt idx="62">
                  <c:v>52.163701250101823</c:v>
                </c:pt>
                <c:pt idx="63">
                  <c:v>52.620707482589346</c:v>
                </c:pt>
                <c:pt idx="64">
                  <c:v>53.039472894160284</c:v>
                </c:pt>
                <c:pt idx="65">
                  <c:v>53.428418347955621</c:v>
                </c:pt>
                <c:pt idx="66">
                  <c:v>53.780722195906058</c:v>
                </c:pt>
                <c:pt idx="67">
                  <c:v>54.098357059489402</c:v>
                </c:pt>
                <c:pt idx="68">
                  <c:v>54.368097602494558</c:v>
                </c:pt>
                <c:pt idx="69">
                  <c:v>54.596153850054222</c:v>
                </c:pt>
                <c:pt idx="70">
                  <c:v>54.787012531366273</c:v>
                </c:pt>
                <c:pt idx="71">
                  <c:v>54.922025363510812</c:v>
                </c:pt>
                <c:pt idx="72">
                  <c:v>55.014191059233241</c:v>
                </c:pt>
                <c:pt idx="73">
                  <c:v>55.065368272266682</c:v>
                </c:pt>
                <c:pt idx="74">
                  <c:v>55.067860937544836</c:v>
                </c:pt>
                <c:pt idx="75">
                  <c:v>55.024065889053887</c:v>
                </c:pt>
                <c:pt idx="76">
                  <c:v>54.935698939580732</c:v>
                </c:pt>
                <c:pt idx="77">
                  <c:v>54.806059050583094</c:v>
                </c:pt>
                <c:pt idx="78">
                  <c:v>54.622675850609447</c:v>
                </c:pt>
                <c:pt idx="79">
                  <c:v>54.396638829610751</c:v>
                </c:pt>
                <c:pt idx="80">
                  <c:v>54.128527214994861</c:v>
                </c:pt>
                <c:pt idx="81">
                  <c:v>53.81220473433693</c:v>
                </c:pt>
                <c:pt idx="82">
                  <c:v>53.448465098341103</c:v>
                </c:pt>
                <c:pt idx="83">
                  <c:v>53.048633165684095</c:v>
                </c:pt>
                <c:pt idx="84">
                  <c:v>52.608605382135579</c:v>
                </c:pt>
                <c:pt idx="85">
                  <c:v>52.120143451953979</c:v>
                </c:pt>
                <c:pt idx="86">
                  <c:v>51.602635635964447</c:v>
                </c:pt>
                <c:pt idx="87">
                  <c:v>51.052066123045648</c:v>
                </c:pt>
                <c:pt idx="88">
                  <c:v>50.450005635320217</c:v>
                </c:pt>
                <c:pt idx="89">
                  <c:v>49.821227684777575</c:v>
                </c:pt>
                <c:pt idx="90">
                  <c:v>49.166180038031563</c:v>
                </c:pt>
                <c:pt idx="91">
                  <c:v>48.480144437765311</c:v>
                </c:pt>
                <c:pt idx="92">
                  <c:v>47.75364016465889</c:v>
                </c:pt>
                <c:pt idx="93">
                  <c:v>47.000123702993072</c:v>
                </c:pt>
                <c:pt idx="94">
                  <c:v>46.225469763720966</c:v>
                </c:pt>
                <c:pt idx="95">
                  <c:v>45.4267431388510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6.113356298220289</c:v>
                </c:pt>
                <c:pt idx="43">
                  <c:v>37.379448621274392</c:v>
                </c:pt>
                <c:pt idx="44">
                  <c:v>38.674276615353889</c:v>
                </c:pt>
                <c:pt idx="45">
                  <c:v>39.953455785366401</c:v>
                </c:pt>
                <c:pt idx="46">
                  <c:v>41.175508877576398</c:v>
                </c:pt>
                <c:pt idx="47">
                  <c:v>42.361957924211815</c:v>
                </c:pt>
                <c:pt idx="48">
                  <c:v>43.555557637103945</c:v>
                </c:pt>
                <c:pt idx="49">
                  <c:v>44.773053973391178</c:v>
                </c:pt>
                <c:pt idx="50">
                  <c:v>46.008367839586072</c:v>
                </c:pt>
                <c:pt idx="51">
                  <c:v>47.308628376428416</c:v>
                </c:pt>
                <c:pt idx="52">
                  <c:v>48.612409320003337</c:v>
                </c:pt>
                <c:pt idx="53">
                  <c:v>49.811529473971127</c:v>
                </c:pt>
                <c:pt idx="54">
                  <c:v>50.96935229199552</c:v>
                </c:pt>
                <c:pt idx="55">
                  <c:v>52.129694540058772</c:v>
                </c:pt>
                <c:pt idx="56">
                  <c:v>53.304944313727887</c:v>
                </c:pt>
                <c:pt idx="57">
                  <c:v>54.497466956019124</c:v>
                </c:pt>
                <c:pt idx="58">
                  <c:v>55.699813121687427</c:v>
                </c:pt>
                <c:pt idx="59">
                  <c:v>56.902168375710488</c:v>
                </c:pt>
                <c:pt idx="60">
                  <c:v>58.071845909447873</c:v>
                </c:pt>
                <c:pt idx="61">
                  <c:v>59.210342941659306</c:v>
                </c:pt>
                <c:pt idx="62">
                  <c:v>60.322345825283918</c:v>
                </c:pt>
                <c:pt idx="63">
                  <c:v>61.408453383061627</c:v>
                </c:pt>
                <c:pt idx="64">
                  <c:v>62.460505108303707</c:v>
                </c:pt>
                <c:pt idx="65">
                  <c:v>63.483993520720688</c:v>
                </c:pt>
                <c:pt idx="66">
                  <c:v>64.469724441516263</c:v>
                </c:pt>
                <c:pt idx="67">
                  <c:v>65.416905749179961</c:v>
                </c:pt>
                <c:pt idx="68">
                  <c:v>66.3098420607067</c:v>
                </c:pt>
                <c:pt idx="69">
                  <c:v>67.152175094298116</c:v>
                </c:pt>
                <c:pt idx="70">
                  <c:v>67.945714363084477</c:v>
                </c:pt>
                <c:pt idx="71">
                  <c:v>68.66926496601728</c:v>
                </c:pt>
                <c:pt idx="72">
                  <c:v>69.333186862322464</c:v>
                </c:pt>
                <c:pt idx="73">
                  <c:v>69.937070775821297</c:v>
                </c:pt>
                <c:pt idx="74">
                  <c:v>70.471019376494013</c:v>
                </c:pt>
                <c:pt idx="75">
                  <c:v>70.93530640096904</c:v>
                </c:pt>
                <c:pt idx="76">
                  <c:v>71.329656078402238</c:v>
                </c:pt>
                <c:pt idx="77">
                  <c:v>71.655665863513747</c:v>
                </c:pt>
                <c:pt idx="78">
                  <c:v>71.899163729322538</c:v>
                </c:pt>
                <c:pt idx="79">
                  <c:v>72.069822205819548</c:v>
                </c:pt>
                <c:pt idx="80">
                  <c:v>72.166933263523887</c:v>
                </c:pt>
                <c:pt idx="81">
                  <c:v>72.183253048694667</c:v>
                </c:pt>
                <c:pt idx="82">
                  <c:v>72.118583590027569</c:v>
                </c:pt>
                <c:pt idx="83">
                  <c:v>71.983557445144783</c:v>
                </c:pt>
                <c:pt idx="84">
                  <c:v>71.773524096948549</c:v>
                </c:pt>
                <c:pt idx="85">
                  <c:v>71.479886947517201</c:v>
                </c:pt>
                <c:pt idx="86">
                  <c:v>71.121862482421932</c:v>
                </c:pt>
                <c:pt idx="87">
                  <c:v>70.695442407596829</c:v>
                </c:pt>
                <c:pt idx="88">
                  <c:v>70.182309841440485</c:v>
                </c:pt>
                <c:pt idx="89">
                  <c:v>69.607630885822246</c:v>
                </c:pt>
                <c:pt idx="90">
                  <c:v>68.972293512507946</c:v>
                </c:pt>
                <c:pt idx="91">
                  <c:v>68.272215669245099</c:v>
                </c:pt>
                <c:pt idx="92">
                  <c:v>67.49777297166537</c:v>
                </c:pt>
                <c:pt idx="93">
                  <c:v>66.663952776608099</c:v>
                </c:pt>
                <c:pt idx="94">
                  <c:v>65.777644935515795</c:v>
                </c:pt>
                <c:pt idx="95">
                  <c:v>64.837042792780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6.195881331079647</c:v>
                </c:pt>
                <c:pt idx="43">
                  <c:v>37.574716506110917</c:v>
                </c:pt>
                <c:pt idx="44">
                  <c:v>39.01521997104885</c:v>
                </c:pt>
                <c:pt idx="45">
                  <c:v>40.474533611579218</c:v>
                </c:pt>
                <c:pt idx="46">
                  <c:v>41.913458135565875</c:v>
                </c:pt>
                <c:pt idx="47">
                  <c:v>43.354197212014583</c:v>
                </c:pt>
                <c:pt idx="48">
                  <c:v>44.840772314081498</c:v>
                </c:pt>
                <c:pt idx="49">
                  <c:v>46.38990961189662</c:v>
                </c:pt>
                <c:pt idx="50">
                  <c:v>47.996188007477919</c:v>
                </c:pt>
                <c:pt idx="51">
                  <c:v>49.706443058619769</c:v>
                </c:pt>
                <c:pt idx="52">
                  <c:v>51.459416327971127</c:v>
                </c:pt>
                <c:pt idx="53">
                  <c:v>53.146292634037501</c:v>
                </c:pt>
                <c:pt idx="54">
                  <c:v>54.829944878440017</c:v>
                </c:pt>
                <c:pt idx="55">
                  <c:v>56.552965326181919</c:v>
                </c:pt>
                <c:pt idx="56">
                  <c:v>58.325619653587125</c:v>
                </c:pt>
                <c:pt idx="57">
                  <c:v>60.145783189267895</c:v>
                </c:pt>
                <c:pt idx="58">
                  <c:v>62.004658698703992</c:v>
                </c:pt>
                <c:pt idx="59">
                  <c:v>63.890164773305401</c:v>
                </c:pt>
                <c:pt idx="60">
                  <c:v>65.76794524746353</c:v>
                </c:pt>
                <c:pt idx="61">
                  <c:v>67.636096329478988</c:v>
                </c:pt>
                <c:pt idx="62">
                  <c:v>69.496571921946625</c:v>
                </c:pt>
                <c:pt idx="63">
                  <c:v>71.346583075643366</c:v>
                </c:pt>
                <c:pt idx="64">
                  <c:v>73.173967919018068</c:v>
                </c:pt>
                <c:pt idx="65">
                  <c:v>74.980419320104218</c:v>
                </c:pt>
                <c:pt idx="66">
                  <c:v>76.753379442571926</c:v>
                </c:pt>
                <c:pt idx="67">
                  <c:v>78.488166052601116</c:v>
                </c:pt>
                <c:pt idx="68">
                  <c:v>80.165373219942609</c:v>
                </c:pt>
                <c:pt idx="69">
                  <c:v>81.784732888137569</c:v>
                </c:pt>
                <c:pt idx="70">
                  <c:v>83.343953489590959</c:v>
                </c:pt>
                <c:pt idx="71">
                  <c:v>84.817805559008235</c:v>
                </c:pt>
                <c:pt idx="72">
                  <c:v>86.21248396086493</c:v>
                </c:pt>
                <c:pt idx="73">
                  <c:v>87.52376640131142</c:v>
                </c:pt>
                <c:pt idx="74">
                  <c:v>88.73800609743374</c:v>
                </c:pt>
                <c:pt idx="75">
                  <c:v>89.851822981474598</c:v>
                </c:pt>
                <c:pt idx="76">
                  <c:v>90.861457933036164</c:v>
                </c:pt>
                <c:pt idx="77">
                  <c:v>91.765375442194483</c:v>
                </c:pt>
                <c:pt idx="78">
                  <c:v>92.546349998861771</c:v>
                </c:pt>
                <c:pt idx="79">
                  <c:v>93.211384050623266</c:v>
                </c:pt>
                <c:pt idx="80">
                  <c:v>93.757343333904856</c:v>
                </c:pt>
                <c:pt idx="81">
                  <c:v>94.174866381117369</c:v>
                </c:pt>
                <c:pt idx="82">
                  <c:v>94.461895521845264</c:v>
                </c:pt>
                <c:pt idx="83">
                  <c:v>94.627656424134926</c:v>
                </c:pt>
                <c:pt idx="84">
                  <c:v>94.666398480640765</c:v>
                </c:pt>
                <c:pt idx="85">
                  <c:v>94.568780715284205</c:v>
                </c:pt>
                <c:pt idx="86">
                  <c:v>94.353631799423226</c:v>
                </c:pt>
                <c:pt idx="87">
                  <c:v>94.016905011317419</c:v>
                </c:pt>
                <c:pt idx="88">
                  <c:v>93.540517640440456</c:v>
                </c:pt>
                <c:pt idx="89">
                  <c:v>92.950314384637707</c:v>
                </c:pt>
                <c:pt idx="90">
                  <c:v>92.248066610551405</c:v>
                </c:pt>
                <c:pt idx="91">
                  <c:v>91.43092073242866</c:v>
                </c:pt>
                <c:pt idx="92">
                  <c:v>90.48983387776768</c:v>
                </c:pt>
                <c:pt idx="93">
                  <c:v>89.442178367532861</c:v>
                </c:pt>
                <c:pt idx="94">
                  <c:v>88.296824106164678</c:v>
                </c:pt>
                <c:pt idx="95">
                  <c:v>87.0541559724851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3</c:v>
                </c:pt>
                <c:pt idx="1">
                  <c:v>2</c:v>
                </c:pt>
                <c:pt idx="2">
                  <c:v>2</c:v>
                </c:pt>
                <c:pt idx="3">
                  <c:v>21</c:v>
                </c:pt>
                <c:pt idx="4">
                  <c:v>16</c:v>
                </c:pt>
                <c:pt idx="5">
                  <c:v>20</c:v>
                </c:pt>
                <c:pt idx="6">
                  <c:v>4</c:v>
                </c:pt>
                <c:pt idx="7">
                  <c:v>3</c:v>
                </c:pt>
                <c:pt idx="8">
                  <c:v>1</c:v>
                </c:pt>
                <c:pt idx="9">
                  <c:v>1</c:v>
                </c:pt>
                <c:pt idx="10">
                  <c:v>23</c:v>
                </c:pt>
                <c:pt idx="11">
                  <c:v>22</c:v>
                </c:pt>
                <c:pt idx="12">
                  <c:v>21</c:v>
                </c:pt>
                <c:pt idx="13">
                  <c:v>25</c:v>
                </c:pt>
                <c:pt idx="14">
                  <c:v>27</c:v>
                </c:pt>
                <c:pt idx="15">
                  <c:v>5</c:v>
                </c:pt>
                <c:pt idx="16">
                  <c:v>5</c:v>
                </c:pt>
                <c:pt idx="17">
                  <c:v>7</c:v>
                </c:pt>
                <c:pt idx="18">
                  <c:v>6</c:v>
                </c:pt>
                <c:pt idx="19">
                  <c:v>30</c:v>
                </c:pt>
                <c:pt idx="20">
                  <c:v>34</c:v>
                </c:pt>
                <c:pt idx="21">
                  <c:v>43</c:v>
                </c:pt>
                <c:pt idx="22">
                  <c:v>39</c:v>
                </c:pt>
                <c:pt idx="23">
                  <c:v>43</c:v>
                </c:pt>
                <c:pt idx="24">
                  <c:v>54</c:v>
                </c:pt>
                <c:pt idx="25">
                  <c:v>61</c:v>
                </c:pt>
                <c:pt idx="26">
                  <c:v>66</c:v>
                </c:pt>
                <c:pt idx="27">
                  <c:v>67</c:v>
                </c:pt>
                <c:pt idx="28">
                  <c:v>77</c:v>
                </c:pt>
                <c:pt idx="29">
                  <c:v>77</c:v>
                </c:pt>
                <c:pt idx="30">
                  <c:v>91</c:v>
                </c:pt>
                <c:pt idx="31">
                  <c:v>119</c:v>
                </c:pt>
                <c:pt idx="32">
                  <c:v>119</c:v>
                </c:pt>
                <c:pt idx="33">
                  <c:v>132</c:v>
                </c:pt>
                <c:pt idx="34">
                  <c:v>135</c:v>
                </c:pt>
                <c:pt idx="35">
                  <c:v>141</c:v>
                </c:pt>
                <c:pt idx="36">
                  <c:v>132</c:v>
                </c:pt>
                <c:pt idx="37">
                  <c:v>148</c:v>
                </c:pt>
                <c:pt idx="38">
                  <c:v>186</c:v>
                </c:pt>
                <c:pt idx="39">
                  <c:v>170</c:v>
                </c:pt>
                <c:pt idx="40">
                  <c:v>188</c:v>
                </c:pt>
                <c:pt idx="41">
                  <c:v>201</c:v>
                </c:pt>
                <c:pt idx="42">
                  <c:v>158</c:v>
                </c:pt>
                <c:pt idx="43">
                  <c:v>159</c:v>
                </c:pt>
                <c:pt idx="44">
                  <c:v>166</c:v>
                </c:pt>
                <c:pt idx="45">
                  <c:v>268</c:v>
                </c:pt>
                <c:pt idx="46">
                  <c:v>264</c:v>
                </c:pt>
                <c:pt idx="47">
                  <c:v>255</c:v>
                </c:pt>
                <c:pt idx="48">
                  <c:v>297</c:v>
                </c:pt>
                <c:pt idx="49">
                  <c:v>309</c:v>
                </c:pt>
                <c:pt idx="50">
                  <c:v>2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08.2624871942995</c:v>
                </c:pt>
                <c:pt idx="43">
                  <c:v>215.28943428101709</c:v>
                </c:pt>
                <c:pt idx="44">
                  <c:v>222.29332933195423</c:v>
                </c:pt>
                <c:pt idx="45">
                  <c:v>229.0326688943814</c:v>
                </c:pt>
                <c:pt idx="46">
                  <c:v>235.288161171284</c:v>
                </c:pt>
                <c:pt idx="47">
                  <c:v>241.14833825166141</c:v>
                </c:pt>
                <c:pt idx="48">
                  <c:v>246.80771222278847</c:v>
                </c:pt>
                <c:pt idx="49">
                  <c:v>252.37260204711015</c:v>
                </c:pt>
                <c:pt idx="50">
                  <c:v>257.82402253876302</c:v>
                </c:pt>
                <c:pt idx="51">
                  <c:v>263.41905851575729</c:v>
                </c:pt>
                <c:pt idx="52">
                  <c:v>268.80983031785661</c:v>
                </c:pt>
                <c:pt idx="53">
                  <c:v>273.41672458503336</c:v>
                </c:pt>
                <c:pt idx="54">
                  <c:v>277.61792343768025</c:v>
                </c:pt>
                <c:pt idx="55">
                  <c:v>281.63786479400437</c:v>
                </c:pt>
                <c:pt idx="56">
                  <c:v>285.56222771292096</c:v>
                </c:pt>
                <c:pt idx="57">
                  <c:v>289.4152481019006</c:v>
                </c:pt>
                <c:pt idx="58">
                  <c:v>293.19421667187595</c:v>
                </c:pt>
                <c:pt idx="59">
                  <c:v>296.85307109685846</c:v>
                </c:pt>
                <c:pt idx="60">
                  <c:v>300.19478559583877</c:v>
                </c:pt>
                <c:pt idx="61">
                  <c:v>303.27720000641273</c:v>
                </c:pt>
                <c:pt idx="62">
                  <c:v>306.12835486946636</c:v>
                </c:pt>
                <c:pt idx="63">
                  <c:v>308.77047228946776</c:v>
                </c:pt>
                <c:pt idx="64">
                  <c:v>311.1795574357489</c:v>
                </c:pt>
                <c:pt idx="65">
                  <c:v>313.40365724967069</c:v>
                </c:pt>
                <c:pt idx="66">
                  <c:v>315.40494413674526</c:v>
                </c:pt>
                <c:pt idx="67">
                  <c:v>317.18749343755104</c:v>
                </c:pt>
                <c:pt idx="68">
                  <c:v>318.68601403743361</c:v>
                </c:pt>
                <c:pt idx="69">
                  <c:v>319.926708535915</c:v>
                </c:pt>
                <c:pt idx="70">
                  <c:v>320.94813302347507</c:v>
                </c:pt>
                <c:pt idx="71">
                  <c:v>321.6420659317659</c:v>
                </c:pt>
                <c:pt idx="72">
                  <c:v>322.08636502640354</c:v>
                </c:pt>
                <c:pt idx="73">
                  <c:v>322.28687091875713</c:v>
                </c:pt>
                <c:pt idx="74">
                  <c:v>322.19071892248292</c:v>
                </c:pt>
                <c:pt idx="75">
                  <c:v>321.82168715470993</c:v>
                </c:pt>
                <c:pt idx="76">
                  <c:v>321.1841969281557</c:v>
                </c:pt>
                <c:pt idx="77">
                  <c:v>320.30968878794863</c:v>
                </c:pt>
                <c:pt idx="78">
                  <c:v>319.11821764245377</c:v>
                </c:pt>
                <c:pt idx="79">
                  <c:v>317.6838757512956</c:v>
                </c:pt>
                <c:pt idx="80">
                  <c:v>315.99984923985261</c:v>
                </c:pt>
                <c:pt idx="81">
                  <c:v>314.01888719708842</c:v>
                </c:pt>
                <c:pt idx="82">
                  <c:v>311.76425706735239</c:v>
                </c:pt>
                <c:pt idx="83">
                  <c:v>309.29743288405552</c:v>
                </c:pt>
                <c:pt idx="84">
                  <c:v>306.59659900209965</c:v>
                </c:pt>
                <c:pt idx="85">
                  <c:v>303.62037958376999</c:v>
                </c:pt>
                <c:pt idx="86">
                  <c:v>300.48335428592111</c:v>
                </c:pt>
                <c:pt idx="87">
                  <c:v>297.15697757714207</c:v>
                </c:pt>
                <c:pt idx="88">
                  <c:v>293.5067762406253</c:v>
                </c:pt>
                <c:pt idx="89">
                  <c:v>289.70535078079013</c:v>
                </c:pt>
                <c:pt idx="90">
                  <c:v>285.75349345374235</c:v>
                </c:pt>
                <c:pt idx="91">
                  <c:v>281.62104632878277</c:v>
                </c:pt>
                <c:pt idx="92">
                  <c:v>277.25741796833034</c:v>
                </c:pt>
                <c:pt idx="93">
                  <c:v>272.73777640986185</c:v>
                </c:pt>
                <c:pt idx="94">
                  <c:v>268.09333781037805</c:v>
                </c:pt>
                <c:pt idx="95">
                  <c:v>263.309813915486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08.76194300155979</c:v>
                </c:pt>
                <c:pt idx="43">
                  <c:v>216.46770010964343</c:v>
                </c:pt>
                <c:pt idx="44">
                  <c:v>224.34137298268325</c:v>
                </c:pt>
                <c:pt idx="45">
                  <c:v>232.14559052158353</c:v>
                </c:pt>
                <c:pt idx="46">
                  <c:v>239.67096797851613</c:v>
                </c:pt>
                <c:pt idx="47">
                  <c:v>247.00452995076364</c:v>
                </c:pt>
                <c:pt idx="48">
                  <c:v>254.3431867373408</c:v>
                </c:pt>
                <c:pt idx="49">
                  <c:v>261.7879773518614</c:v>
                </c:pt>
                <c:pt idx="50">
                  <c:v>269.31858377493273</c:v>
                </c:pt>
                <c:pt idx="51">
                  <c:v>277.1851690400805</c:v>
                </c:pt>
                <c:pt idx="52">
                  <c:v>285.03552997290655</c:v>
                </c:pt>
                <c:pt idx="53">
                  <c:v>292.28223575328911</c:v>
                </c:pt>
                <c:pt idx="54">
                  <c:v>299.29707220524824</c:v>
                </c:pt>
                <c:pt idx="55">
                  <c:v>306.2928662729496</c:v>
                </c:pt>
                <c:pt idx="56">
                  <c:v>313.3395646427233</c:v>
                </c:pt>
                <c:pt idx="57">
                  <c:v>320.43371604815854</c:v>
                </c:pt>
                <c:pt idx="58">
                  <c:v>327.56351030610995</c:v>
                </c:pt>
                <c:pt idx="59">
                  <c:v>334.66917440485827</c:v>
                </c:pt>
                <c:pt idx="60">
                  <c:v>341.54413367927191</c:v>
                </c:pt>
                <c:pt idx="61">
                  <c:v>348.2278331527051</c:v>
                </c:pt>
                <c:pt idx="62">
                  <c:v>354.73452823007085</c:v>
                </c:pt>
                <c:pt idx="63">
                  <c:v>361.07056648582414</c:v>
                </c:pt>
                <c:pt idx="64">
                  <c:v>367.19191976799544</c:v>
                </c:pt>
                <c:pt idx="65">
                  <c:v>373.12988516445625</c:v>
                </c:pt>
                <c:pt idx="66">
                  <c:v>378.83272922148728</c:v>
                </c:pt>
                <c:pt idx="67">
                  <c:v>384.28845078794842</c:v>
                </c:pt>
                <c:pt idx="68">
                  <c:v>389.41743036958701</c:v>
                </c:pt>
                <c:pt idx="69">
                  <c:v>394.23091258167506</c:v>
                </c:pt>
                <c:pt idx="70">
                  <c:v>398.7520031907012</c:v>
                </c:pt>
                <c:pt idx="71">
                  <c:v>402.85764083464096</c:v>
                </c:pt>
                <c:pt idx="72">
                  <c:v>406.61054291019741</c:v>
                </c:pt>
                <c:pt idx="73">
                  <c:v>410.00315743877644</c:v>
                </c:pt>
                <c:pt idx="74">
                  <c:v>412.97028386444106</c:v>
                </c:pt>
                <c:pt idx="75">
                  <c:v>415.52359653579606</c:v>
                </c:pt>
                <c:pt idx="76">
                  <c:v>417.65621007181795</c:v>
                </c:pt>
                <c:pt idx="77">
                  <c:v>419.38988320600606</c:v>
                </c:pt>
                <c:pt idx="78">
                  <c:v>420.63497249886035</c:v>
                </c:pt>
                <c:pt idx="79">
                  <c:v>421.45771257789926</c:v>
                </c:pt>
                <c:pt idx="80">
                  <c:v>421.84414141707401</c:v>
                </c:pt>
                <c:pt idx="81">
                  <c:v>421.74092318428052</c:v>
                </c:pt>
                <c:pt idx="82">
                  <c:v>421.16582739227181</c:v>
                </c:pt>
                <c:pt idx="83">
                  <c:v>420.17674369523809</c:v>
                </c:pt>
                <c:pt idx="84">
                  <c:v>418.74905956406383</c:v>
                </c:pt>
                <c:pt idx="85">
                  <c:v>416.83970391953295</c:v>
                </c:pt>
                <c:pt idx="86">
                  <c:v>414.56264777431932</c:v>
                </c:pt>
                <c:pt idx="87">
                  <c:v>411.88977757958077</c:v>
                </c:pt>
                <c:pt idx="88">
                  <c:v>408.6875564431914</c:v>
                </c:pt>
                <c:pt idx="89">
                  <c:v>405.13130537084379</c:v>
                </c:pt>
                <c:pt idx="90">
                  <c:v>401.22463678235283</c:v>
                </c:pt>
                <c:pt idx="91">
                  <c:v>396.9414008004635</c:v>
                </c:pt>
                <c:pt idx="92">
                  <c:v>392.22912179964953</c:v>
                </c:pt>
                <c:pt idx="93">
                  <c:v>387.17303855288066</c:v>
                </c:pt>
                <c:pt idx="94">
                  <c:v>381.81049278722043</c:v>
                </c:pt>
                <c:pt idx="95">
                  <c:v>376.133963667519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09.26456795278182</c:v>
                </c:pt>
                <c:pt idx="43">
                  <c:v>217.65729052781683</c:v>
                </c:pt>
                <c:pt idx="44">
                  <c:v>226.41706434092063</c:v>
                </c:pt>
                <c:pt idx="45">
                  <c:v>235.31429465156197</c:v>
                </c:pt>
                <c:pt idx="46">
                  <c:v>244.15352955915378</c:v>
                </c:pt>
                <c:pt idx="47">
                  <c:v>253.02453397038391</c:v>
                </c:pt>
                <c:pt idx="48">
                  <c:v>262.13104158829657</c:v>
                </c:pt>
                <c:pt idx="49">
                  <c:v>271.57327586224693</c:v>
                </c:pt>
                <c:pt idx="50">
                  <c:v>281.33401043576271</c:v>
                </c:pt>
                <c:pt idx="51">
                  <c:v>291.66075179055315</c:v>
                </c:pt>
                <c:pt idx="52">
                  <c:v>302.20100293851499</c:v>
                </c:pt>
                <c:pt idx="53">
                  <c:v>312.36317433078193</c:v>
                </c:pt>
                <c:pt idx="54">
                  <c:v>322.51588290725181</c:v>
                </c:pt>
                <c:pt idx="55">
                  <c:v>332.86303058883323</c:v>
                </c:pt>
                <c:pt idx="56">
                  <c:v>343.46092289619105</c:v>
                </c:pt>
                <c:pt idx="57">
                  <c:v>354.27973372723511</c:v>
                </c:pt>
                <c:pt idx="58">
                  <c:v>365.29916645009547</c:v>
                </c:pt>
                <c:pt idx="59">
                  <c:v>376.44555323177917</c:v>
                </c:pt>
                <c:pt idx="60">
                  <c:v>387.50172983092017</c:v>
                </c:pt>
                <c:pt idx="61">
                  <c:v>398.48678945414235</c:v>
                </c:pt>
                <c:pt idx="62">
                  <c:v>409.39834910868706</c:v>
                </c:pt>
                <c:pt idx="63">
                  <c:v>420.22314434585837</c:v>
                </c:pt>
                <c:pt idx="64">
                  <c:v>430.89248696163395</c:v>
                </c:pt>
                <c:pt idx="65">
                  <c:v>441.41555857340097</c:v>
                </c:pt>
                <c:pt idx="66">
                  <c:v>451.72066949448168</c:v>
                </c:pt>
                <c:pt idx="67">
                  <c:v>461.77292695212628</c:v>
                </c:pt>
                <c:pt idx="68">
                  <c:v>471.47092026158657</c:v>
                </c:pt>
                <c:pt idx="69">
                  <c:v>480.80291161604237</c:v>
                </c:pt>
                <c:pt idx="70">
                  <c:v>489.76808323612306</c:v>
                </c:pt>
                <c:pt idx="71">
                  <c:v>498.21971884663844</c:v>
                </c:pt>
                <c:pt idx="72">
                  <c:v>506.1963959313008</c:v>
                </c:pt>
                <c:pt idx="73">
                  <c:v>513.66810060134685</c:v>
                </c:pt>
                <c:pt idx="74">
                  <c:v>520.54825401765891</c:v>
                </c:pt>
                <c:pt idx="75">
                  <c:v>526.82752989252026</c:v>
                </c:pt>
                <c:pt idx="76">
                  <c:v>532.47911108073345</c:v>
                </c:pt>
                <c:pt idx="77">
                  <c:v>537.50684510384622</c:v>
                </c:pt>
                <c:pt idx="78">
                  <c:v>541.80366707556095</c:v>
                </c:pt>
                <c:pt idx="79">
                  <c:v>545.42084700360499</c:v>
                </c:pt>
                <c:pt idx="80">
                  <c:v>548.330870738096</c:v>
                </c:pt>
                <c:pt idx="81">
                  <c:v>550.46869957455272</c:v>
                </c:pt>
                <c:pt idx="82">
                  <c:v>551.84184443540505</c:v>
                </c:pt>
                <c:pt idx="83">
                  <c:v>552.50076980693802</c:v>
                </c:pt>
                <c:pt idx="84">
                  <c:v>552.41518691565886</c:v>
                </c:pt>
                <c:pt idx="85">
                  <c:v>551.5384389620981</c:v>
                </c:pt>
                <c:pt idx="86">
                  <c:v>549.9829987154169</c:v>
                </c:pt>
                <c:pt idx="87">
                  <c:v>547.72129065369631</c:v>
                </c:pt>
                <c:pt idx="88">
                  <c:v>544.62179594179088</c:v>
                </c:pt>
                <c:pt idx="89">
                  <c:v>540.86458872625929</c:v>
                </c:pt>
                <c:pt idx="90">
                  <c:v>536.45903764475884</c:v>
                </c:pt>
                <c:pt idx="91">
                  <c:v>531.38678888178174</c:v>
                </c:pt>
                <c:pt idx="92">
                  <c:v>525.59801559539949</c:v>
                </c:pt>
                <c:pt idx="93">
                  <c:v>519.19328964333033</c:v>
                </c:pt>
                <c:pt idx="94">
                  <c:v>512.22195430628744</c:v>
                </c:pt>
                <c:pt idx="95">
                  <c:v>504.689671038853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7</c:v>
                </c:pt>
                <c:pt idx="11">
                  <c:v>5</c:v>
                </c:pt>
                <c:pt idx="12">
                  <c:v>7</c:v>
                </c:pt>
                <c:pt idx="13">
                  <c:v>9</c:v>
                </c:pt>
                <c:pt idx="14">
                  <c:v>9</c:v>
                </c:pt>
                <c:pt idx="15">
                  <c:v>9</c:v>
                </c:pt>
                <c:pt idx="16">
                  <c:v>10</c:v>
                </c:pt>
                <c:pt idx="17">
                  <c:v>19</c:v>
                </c:pt>
                <c:pt idx="18">
                  <c:v>20</c:v>
                </c:pt>
                <c:pt idx="19">
                  <c:v>22</c:v>
                </c:pt>
                <c:pt idx="20">
                  <c:v>21</c:v>
                </c:pt>
                <c:pt idx="21">
                  <c:v>21</c:v>
                </c:pt>
                <c:pt idx="22">
                  <c:v>24</c:v>
                </c:pt>
                <c:pt idx="23">
                  <c:v>27</c:v>
                </c:pt>
                <c:pt idx="24">
                  <c:v>26</c:v>
                </c:pt>
                <c:pt idx="25">
                  <c:v>29</c:v>
                </c:pt>
                <c:pt idx="26">
                  <c:v>31</c:v>
                </c:pt>
                <c:pt idx="27">
                  <c:v>28</c:v>
                </c:pt>
                <c:pt idx="28">
                  <c:v>30</c:v>
                </c:pt>
                <c:pt idx="29">
                  <c:v>32</c:v>
                </c:pt>
                <c:pt idx="30">
                  <c:v>33</c:v>
                </c:pt>
                <c:pt idx="31">
                  <c:v>33</c:v>
                </c:pt>
                <c:pt idx="32">
                  <c:v>37</c:v>
                </c:pt>
                <c:pt idx="33">
                  <c:v>37</c:v>
                </c:pt>
                <c:pt idx="34">
                  <c:v>36</c:v>
                </c:pt>
                <c:pt idx="35">
                  <c:v>39</c:v>
                </c:pt>
                <c:pt idx="36">
                  <c:v>45</c:v>
                </c:pt>
                <c:pt idx="37">
                  <c:v>46</c:v>
                </c:pt>
                <c:pt idx="38">
                  <c:v>57</c:v>
                </c:pt>
                <c:pt idx="39">
                  <c:v>55</c:v>
                </c:pt>
                <c:pt idx="40">
                  <c:v>64</c:v>
                </c:pt>
                <c:pt idx="41">
                  <c:v>63</c:v>
                </c:pt>
                <c:pt idx="42">
                  <c:v>74</c:v>
                </c:pt>
                <c:pt idx="43">
                  <c:v>77</c:v>
                </c:pt>
                <c:pt idx="44">
                  <c:v>86</c:v>
                </c:pt>
                <c:pt idx="45">
                  <c:v>98</c:v>
                </c:pt>
                <c:pt idx="46">
                  <c:v>104</c:v>
                </c:pt>
                <c:pt idx="47">
                  <c:v>117</c:v>
                </c:pt>
                <c:pt idx="48">
                  <c:v>121</c:v>
                </c:pt>
                <c:pt idx="49">
                  <c:v>106</c:v>
                </c:pt>
                <c:pt idx="5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88.450916821586901</c:v>
                </c:pt>
                <c:pt idx="43">
                  <c:v>91.216569403997198</c:v>
                </c:pt>
                <c:pt idx="44">
                  <c:v>93.976499069064431</c:v>
                </c:pt>
                <c:pt idx="45">
                  <c:v>96.615498592670349</c:v>
                </c:pt>
                <c:pt idx="46">
                  <c:v>99.02197955603539</c:v>
                </c:pt>
                <c:pt idx="47">
                  <c:v>101.2558747550697</c:v>
                </c:pt>
                <c:pt idx="48">
                  <c:v>103.43053096681034</c:v>
                </c:pt>
                <c:pt idx="49">
                  <c:v>105.58795494910365</c:v>
                </c:pt>
                <c:pt idx="50">
                  <c:v>107.71038973252479</c:v>
                </c:pt>
                <c:pt idx="51">
                  <c:v>109.92017614684197</c:v>
                </c:pt>
                <c:pt idx="52">
                  <c:v>112.0669998448607</c:v>
                </c:pt>
                <c:pt idx="53">
                  <c:v>113.88091415835036</c:v>
                </c:pt>
                <c:pt idx="54">
                  <c:v>115.51891900182777</c:v>
                </c:pt>
                <c:pt idx="55">
                  <c:v>117.10031783735639</c:v>
                </c:pt>
                <c:pt idx="56">
                  <c:v>118.66175426469337</c:v>
                </c:pt>
                <c:pt idx="57">
                  <c:v>120.22397998838133</c:v>
                </c:pt>
                <c:pt idx="58">
                  <c:v>121.76616171272272</c:v>
                </c:pt>
                <c:pt idx="59">
                  <c:v>123.27027671447937</c:v>
                </c:pt>
                <c:pt idx="60">
                  <c:v>124.66316534402922</c:v>
                </c:pt>
                <c:pt idx="61">
                  <c:v>125.95004612010644</c:v>
                </c:pt>
                <c:pt idx="62">
                  <c:v>127.150451117068</c:v>
                </c:pt>
                <c:pt idx="63">
                  <c:v>128.2722062974392</c:v>
                </c:pt>
                <c:pt idx="64">
                  <c:v>129.30243090730627</c:v>
                </c:pt>
                <c:pt idx="65">
                  <c:v>130.2619190386207</c:v>
                </c:pt>
                <c:pt idx="66">
                  <c:v>131.13361175833143</c:v>
                </c:pt>
                <c:pt idx="67">
                  <c:v>131.92378287788267</c:v>
                </c:pt>
                <c:pt idx="68">
                  <c:v>132.59778772121587</c:v>
                </c:pt>
                <c:pt idx="69">
                  <c:v>133.17276427388137</c:v>
                </c:pt>
                <c:pt idx="70">
                  <c:v>133.65726064618161</c:v>
                </c:pt>
                <c:pt idx="71">
                  <c:v>134.00558319759861</c:v>
                </c:pt>
                <c:pt idx="72">
                  <c:v>134.24910925397808</c:v>
                </c:pt>
                <c:pt idx="73">
                  <c:v>134.39335928226433</c:v>
                </c:pt>
                <c:pt idx="74">
                  <c:v>134.42107814463071</c:v>
                </c:pt>
                <c:pt idx="75">
                  <c:v>134.33621077176539</c:v>
                </c:pt>
                <c:pt idx="76">
                  <c:v>134.14404296461274</c:v>
                </c:pt>
                <c:pt idx="77">
                  <c:v>133.85025594560267</c:v>
                </c:pt>
                <c:pt idx="78">
                  <c:v>133.42577379380191</c:v>
                </c:pt>
                <c:pt idx="79">
                  <c:v>132.89586671687778</c:v>
                </c:pt>
                <c:pt idx="80">
                  <c:v>132.26394191358503</c:v>
                </c:pt>
                <c:pt idx="81">
                  <c:v>131.51723789225522</c:v>
                </c:pt>
                <c:pt idx="82">
                  <c:v>130.65405365641334</c:v>
                </c:pt>
                <c:pt idx="83">
                  <c:v>129.70296818364608</c:v>
                </c:pt>
                <c:pt idx="84">
                  <c:v>128.65353614545421</c:v>
                </c:pt>
                <c:pt idx="85">
                  <c:v>127.48431446515028</c:v>
                </c:pt>
                <c:pt idx="86">
                  <c:v>126.24240674636516</c:v>
                </c:pt>
                <c:pt idx="87">
                  <c:v>124.91899693967417</c:v>
                </c:pt>
                <c:pt idx="88">
                  <c:v>123.47430505586389</c:v>
                </c:pt>
                <c:pt idx="89">
                  <c:v>121.96340038477432</c:v>
                </c:pt>
                <c:pt idx="90">
                  <c:v>120.38773296928866</c:v>
                </c:pt>
                <c:pt idx="91">
                  <c:v>118.73628415868976</c:v>
                </c:pt>
                <c:pt idx="92">
                  <c:v>116.9849583811538</c:v>
                </c:pt>
                <c:pt idx="93">
                  <c:v>115.16729913081795</c:v>
                </c:pt>
                <c:pt idx="94">
                  <c:v>113.2982631188044</c:v>
                </c:pt>
                <c:pt idx="95">
                  <c:v>111.370121835321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88.647239433857223</c:v>
                </c:pt>
                <c:pt idx="43">
                  <c:v>91.679539315200515</c:v>
                </c:pt>
                <c:pt idx="44">
                  <c:v>94.782024363738714</c:v>
                </c:pt>
                <c:pt idx="45">
                  <c:v>97.841992354977208</c:v>
                </c:pt>
                <c:pt idx="46">
                  <c:v>100.75169317480967</c:v>
                </c:pt>
                <c:pt idx="47">
                  <c:v>103.57126136734183</c:v>
                </c:pt>
                <c:pt idx="48">
                  <c:v>106.41546264192523</c:v>
                </c:pt>
                <c:pt idx="49">
                  <c:v>109.32457582106768</c:v>
                </c:pt>
                <c:pt idx="50">
                  <c:v>112.28078252990881</c:v>
                </c:pt>
                <c:pt idx="51">
                  <c:v>115.4041228476741</c:v>
                </c:pt>
                <c:pt idx="52">
                  <c:v>118.54325023766938</c:v>
                </c:pt>
                <c:pt idx="53">
                  <c:v>121.42520137860753</c:v>
                </c:pt>
                <c:pt idx="54">
                  <c:v>124.20444000229242</c:v>
                </c:pt>
                <c:pt idx="55">
                  <c:v>126.99642869010765</c:v>
                </c:pt>
                <c:pt idx="56">
                  <c:v>129.83190184606548</c:v>
                </c:pt>
                <c:pt idx="57">
                  <c:v>132.7200112762896</c:v>
                </c:pt>
                <c:pt idx="58">
                  <c:v>135.63636538010556</c:v>
                </c:pt>
                <c:pt idx="59">
                  <c:v>138.55746631002344</c:v>
                </c:pt>
                <c:pt idx="60">
                  <c:v>141.40652046863636</c:v>
                </c:pt>
                <c:pt idx="61">
                  <c:v>144.18118770138491</c:v>
                </c:pt>
                <c:pt idx="62">
                  <c:v>146.89547915099092</c:v>
                </c:pt>
                <c:pt idx="63">
                  <c:v>149.55030092555592</c:v>
                </c:pt>
                <c:pt idx="64">
                  <c:v>152.12500692576288</c:v>
                </c:pt>
                <c:pt idx="65">
                  <c:v>154.63316825366394</c:v>
                </c:pt>
                <c:pt idx="66">
                  <c:v>157.05193942997761</c:v>
                </c:pt>
                <c:pt idx="67">
                  <c:v>159.38082607755331</c:v>
                </c:pt>
                <c:pt idx="68">
                  <c:v>161.57913001711466</c:v>
                </c:pt>
                <c:pt idx="69">
                  <c:v>163.65770656478531</c:v>
                </c:pt>
                <c:pt idx="70">
                  <c:v>165.61852701141316</c:v>
                </c:pt>
                <c:pt idx="71">
                  <c:v>167.40966969048887</c:v>
                </c:pt>
                <c:pt idx="72">
                  <c:v>169.05601240543012</c:v>
                </c:pt>
                <c:pt idx="73">
                  <c:v>170.55756369672685</c:v>
                </c:pt>
                <c:pt idx="74">
                  <c:v>171.8915889825704</c:v>
                </c:pt>
                <c:pt idx="75">
                  <c:v>173.05678856227283</c:v>
                </c:pt>
                <c:pt idx="76">
                  <c:v>174.05351923634925</c:v>
                </c:pt>
                <c:pt idx="77">
                  <c:v>174.88325543146755</c:v>
                </c:pt>
                <c:pt idx="78">
                  <c:v>175.51271712829862</c:v>
                </c:pt>
                <c:pt idx="79">
                  <c:v>175.96363118685667</c:v>
                </c:pt>
                <c:pt idx="80">
                  <c:v>176.23618771274187</c:v>
                </c:pt>
                <c:pt idx="81">
                  <c:v>176.31484436901297</c:v>
                </c:pt>
                <c:pt idx="82">
                  <c:v>176.19542002567181</c:v>
                </c:pt>
                <c:pt idx="83">
                  <c:v>175.90471268096013</c:v>
                </c:pt>
                <c:pt idx="84">
                  <c:v>175.4308630772687</c:v>
                </c:pt>
                <c:pt idx="85">
                  <c:v>174.75147515541298</c:v>
                </c:pt>
                <c:pt idx="86">
                  <c:v>173.91315577494782</c:v>
                </c:pt>
                <c:pt idx="87">
                  <c:v>172.90703143262897</c:v>
                </c:pt>
                <c:pt idx="88">
                  <c:v>171.69354204709953</c:v>
                </c:pt>
                <c:pt idx="89">
                  <c:v>170.32863247739252</c:v>
                </c:pt>
                <c:pt idx="90">
                  <c:v>168.81477952093951</c:v>
                </c:pt>
                <c:pt idx="91">
                  <c:v>167.14246168251734</c:v>
                </c:pt>
                <c:pt idx="92">
                  <c:v>165.28743659500307</c:v>
                </c:pt>
                <c:pt idx="93">
                  <c:v>163.2867670013658</c:v>
                </c:pt>
                <c:pt idx="94">
                  <c:v>161.1578512026814</c:v>
                </c:pt>
                <c:pt idx="95">
                  <c:v>158.895683357998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88.844817753115734</c:v>
                </c:pt>
                <c:pt idx="43">
                  <c:v>92.14698436902097</c:v>
                </c:pt>
                <c:pt idx="44">
                  <c:v>95.598464126686167</c:v>
                </c:pt>
                <c:pt idx="45">
                  <c:v>99.090506198684238</c:v>
                </c:pt>
                <c:pt idx="46">
                  <c:v>102.52080280276836</c:v>
                </c:pt>
                <c:pt idx="47">
                  <c:v>105.9513961448904</c:v>
                </c:pt>
                <c:pt idx="48">
                  <c:v>109.50025901528895</c:v>
                </c:pt>
                <c:pt idx="49">
                  <c:v>113.20775865345627</c:v>
                </c:pt>
                <c:pt idx="50">
                  <c:v>117.05783097143365</c:v>
                </c:pt>
                <c:pt idx="51">
                  <c:v>121.16998283276681</c:v>
                </c:pt>
                <c:pt idx="52">
                  <c:v>125.39352660356997</c:v>
                </c:pt>
                <c:pt idx="53">
                  <c:v>129.45403920044129</c:v>
                </c:pt>
                <c:pt idx="54">
                  <c:v>133.50484528286125</c:v>
                </c:pt>
                <c:pt idx="55">
                  <c:v>137.65876240354305</c:v>
                </c:pt>
                <c:pt idx="56">
                  <c:v>141.94158312321835</c:v>
                </c:pt>
                <c:pt idx="57">
                  <c:v>146.35151954001358</c:v>
                </c:pt>
                <c:pt idx="58">
                  <c:v>150.86100710977666</c:v>
                </c:pt>
                <c:pt idx="59">
                  <c:v>155.44113760591998</c:v>
                </c:pt>
                <c:pt idx="60">
                  <c:v>160.01120320995045</c:v>
                </c:pt>
                <c:pt idx="61">
                  <c:v>164.56065041577324</c:v>
                </c:pt>
                <c:pt idx="62">
                  <c:v>169.09694769466543</c:v>
                </c:pt>
                <c:pt idx="63">
                  <c:v>173.61269071906338</c:v>
                </c:pt>
                <c:pt idx="64">
                  <c:v>178.0777100195094</c:v>
                </c:pt>
                <c:pt idx="65">
                  <c:v>182.49627915188006</c:v>
                </c:pt>
                <c:pt idx="66">
                  <c:v>186.83739587634852</c:v>
                </c:pt>
                <c:pt idx="67">
                  <c:v>191.09109568774363</c:v>
                </c:pt>
                <c:pt idx="68">
                  <c:v>195.20763886276109</c:v>
                </c:pt>
                <c:pt idx="69">
                  <c:v>199.18835785786237</c:v>
                </c:pt>
                <c:pt idx="70">
                  <c:v>203.02519931624599</c:v>
                </c:pt>
                <c:pt idx="71">
                  <c:v>206.65640284091549</c:v>
                </c:pt>
                <c:pt idx="72">
                  <c:v>210.09663442843049</c:v>
                </c:pt>
                <c:pt idx="73">
                  <c:v>213.33662485164308</c:v>
                </c:pt>
                <c:pt idx="74">
                  <c:v>216.34437787564673</c:v>
                </c:pt>
                <c:pt idx="75">
                  <c:v>219.10960117702697</c:v>
                </c:pt>
                <c:pt idx="76">
                  <c:v>221.62406103150852</c:v>
                </c:pt>
                <c:pt idx="77">
                  <c:v>223.88150239226769</c:v>
                </c:pt>
                <c:pt idx="78">
                  <c:v>225.84110494910942</c:v>
                </c:pt>
                <c:pt idx="79">
                  <c:v>227.51794941919752</c:v>
                </c:pt>
                <c:pt idx="80">
                  <c:v>228.90617777715272</c:v>
                </c:pt>
                <c:pt idx="81">
                  <c:v>229.98494438576103</c:v>
                </c:pt>
                <c:pt idx="82">
                  <c:v>230.74540703161028</c:v>
                </c:pt>
                <c:pt idx="83">
                  <c:v>231.21077196866761</c:v>
                </c:pt>
                <c:pt idx="84">
                  <c:v>231.36634610030683</c:v>
                </c:pt>
                <c:pt idx="85">
                  <c:v>231.18776600233534</c:v>
                </c:pt>
                <c:pt idx="86">
                  <c:v>230.72054129176468</c:v>
                </c:pt>
                <c:pt idx="87">
                  <c:v>229.95555562504995</c:v>
                </c:pt>
                <c:pt idx="88">
                  <c:v>228.85369394182584</c:v>
                </c:pt>
                <c:pt idx="89">
                  <c:v>227.47240462236147</c:v>
                </c:pt>
                <c:pt idx="90">
                  <c:v>225.81620602884112</c:v>
                </c:pt>
                <c:pt idx="91">
                  <c:v>223.87845646996516</c:v>
                </c:pt>
                <c:pt idx="92">
                  <c:v>221.63648026757051</c:v>
                </c:pt>
                <c:pt idx="93">
                  <c:v>219.13289243923171</c:v>
                </c:pt>
                <c:pt idx="94">
                  <c:v>216.38984320677139</c:v>
                </c:pt>
                <c:pt idx="95">
                  <c:v>213.407605935278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4</c:v>
                </c:pt>
                <c:pt idx="6">
                  <c:v>6</c:v>
                </c:pt>
                <c:pt idx="7">
                  <c:v>6</c:v>
                </c:pt>
                <c:pt idx="8">
                  <c:v>8</c:v>
                </c:pt>
                <c:pt idx="9">
                  <c:v>8</c:v>
                </c:pt>
                <c:pt idx="10">
                  <c:v>9</c:v>
                </c:pt>
                <c:pt idx="11">
                  <c:v>9</c:v>
                </c:pt>
                <c:pt idx="12">
                  <c:v>10</c:v>
                </c:pt>
                <c:pt idx="13">
                  <c:v>9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9</c:v>
                </c:pt>
                <c:pt idx="18">
                  <c:v>12</c:v>
                </c:pt>
                <c:pt idx="19">
                  <c:v>10</c:v>
                </c:pt>
                <c:pt idx="20">
                  <c:v>9</c:v>
                </c:pt>
                <c:pt idx="21">
                  <c:v>12</c:v>
                </c:pt>
                <c:pt idx="22">
                  <c:v>11</c:v>
                </c:pt>
                <c:pt idx="23">
                  <c:v>12</c:v>
                </c:pt>
                <c:pt idx="24">
                  <c:v>14</c:v>
                </c:pt>
                <c:pt idx="25">
                  <c:v>15</c:v>
                </c:pt>
                <c:pt idx="26">
                  <c:v>14</c:v>
                </c:pt>
                <c:pt idx="27">
                  <c:v>15</c:v>
                </c:pt>
                <c:pt idx="28">
                  <c:v>19</c:v>
                </c:pt>
                <c:pt idx="29">
                  <c:v>25</c:v>
                </c:pt>
                <c:pt idx="30">
                  <c:v>27</c:v>
                </c:pt>
                <c:pt idx="31">
                  <c:v>40</c:v>
                </c:pt>
                <c:pt idx="32">
                  <c:v>43</c:v>
                </c:pt>
                <c:pt idx="33">
                  <c:v>49</c:v>
                </c:pt>
                <c:pt idx="34">
                  <c:v>54</c:v>
                </c:pt>
                <c:pt idx="35">
                  <c:v>57</c:v>
                </c:pt>
                <c:pt idx="36">
                  <c:v>59</c:v>
                </c:pt>
                <c:pt idx="37">
                  <c:v>63</c:v>
                </c:pt>
                <c:pt idx="38">
                  <c:v>83</c:v>
                </c:pt>
                <c:pt idx="39">
                  <c:v>97</c:v>
                </c:pt>
                <c:pt idx="40">
                  <c:v>104</c:v>
                </c:pt>
                <c:pt idx="41">
                  <c:v>109</c:v>
                </c:pt>
                <c:pt idx="42">
                  <c:v>123</c:v>
                </c:pt>
                <c:pt idx="43">
                  <c:v>101</c:v>
                </c:pt>
                <c:pt idx="44">
                  <c:v>104</c:v>
                </c:pt>
                <c:pt idx="45">
                  <c:v>142</c:v>
                </c:pt>
                <c:pt idx="46">
                  <c:v>164</c:v>
                </c:pt>
                <c:pt idx="47">
                  <c:v>171</c:v>
                </c:pt>
                <c:pt idx="48">
                  <c:v>186</c:v>
                </c:pt>
                <c:pt idx="49">
                  <c:v>200</c:v>
                </c:pt>
                <c:pt idx="50">
                  <c:v>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28.60506305973709</c:v>
                </c:pt>
                <c:pt idx="43">
                  <c:v>132.5101393643684</c:v>
                </c:pt>
                <c:pt idx="44">
                  <c:v>136.4090535049684</c:v>
                </c:pt>
                <c:pt idx="45">
                  <c:v>140.12758968352114</c:v>
                </c:pt>
                <c:pt idx="46">
                  <c:v>143.4937076358957</c:v>
                </c:pt>
                <c:pt idx="47">
                  <c:v>146.60640070062138</c:v>
                </c:pt>
                <c:pt idx="48">
                  <c:v>149.64678461078952</c:v>
                </c:pt>
                <c:pt idx="49">
                  <c:v>152.67426527408941</c:v>
                </c:pt>
                <c:pt idx="50">
                  <c:v>155.6578796553766</c:v>
                </c:pt>
                <c:pt idx="51">
                  <c:v>158.78248950468804</c:v>
                </c:pt>
                <c:pt idx="52">
                  <c:v>161.82817982459179</c:v>
                </c:pt>
                <c:pt idx="53">
                  <c:v>164.38983505195307</c:v>
                </c:pt>
                <c:pt idx="54">
                  <c:v>166.69380860494741</c:v>
                </c:pt>
                <c:pt idx="55">
                  <c:v>168.92629291074525</c:v>
                </c:pt>
                <c:pt idx="56">
                  <c:v>171.14070201018447</c:v>
                </c:pt>
                <c:pt idx="57">
                  <c:v>173.37275905966206</c:v>
                </c:pt>
                <c:pt idx="58">
                  <c:v>175.58172662165146</c:v>
                </c:pt>
                <c:pt idx="59">
                  <c:v>177.7422177126501</c:v>
                </c:pt>
                <c:pt idx="60">
                  <c:v>179.7534431859338</c:v>
                </c:pt>
                <c:pt idx="61">
                  <c:v>181.61272254994634</c:v>
                </c:pt>
                <c:pt idx="62">
                  <c:v>183.35250073558956</c:v>
                </c:pt>
                <c:pt idx="63">
                  <c:v>184.98330092699155</c:v>
                </c:pt>
                <c:pt idx="64">
                  <c:v>186.48496721545436</c:v>
                </c:pt>
                <c:pt idx="65">
                  <c:v>187.88793960491023</c:v>
                </c:pt>
                <c:pt idx="66">
                  <c:v>189.16688775747227</c:v>
                </c:pt>
                <c:pt idx="67">
                  <c:v>190.3333447687705</c:v>
                </c:pt>
                <c:pt idx="68">
                  <c:v>191.33326821483087</c:v>
                </c:pt>
                <c:pt idx="69">
                  <c:v>192.19476573699563</c:v>
                </c:pt>
                <c:pt idx="70">
                  <c:v>192.92611190923643</c:v>
                </c:pt>
                <c:pt idx="71">
                  <c:v>193.46101228381229</c:v>
                </c:pt>
                <c:pt idx="72">
                  <c:v>193.84419186078134</c:v>
                </c:pt>
                <c:pt idx="73">
                  <c:v>194.08529064985993</c:v>
                </c:pt>
                <c:pt idx="74">
                  <c:v>194.16197843519865</c:v>
                </c:pt>
                <c:pt idx="75">
                  <c:v>194.07672491804635</c:v>
                </c:pt>
                <c:pt idx="76">
                  <c:v>193.83902428927519</c:v>
                </c:pt>
                <c:pt idx="77">
                  <c:v>193.45306509447482</c:v>
                </c:pt>
                <c:pt idx="78">
                  <c:v>192.87916047224749</c:v>
                </c:pt>
                <c:pt idx="79">
                  <c:v>192.15076332528929</c:v>
                </c:pt>
                <c:pt idx="80">
                  <c:v>191.27617189535144</c:v>
                </c:pt>
                <c:pt idx="81">
                  <c:v>190.2407091617284</c:v>
                </c:pt>
                <c:pt idx="82">
                  <c:v>189.03575438413102</c:v>
                </c:pt>
                <c:pt idx="83">
                  <c:v>187.70417172111158</c:v>
                </c:pt>
                <c:pt idx="84">
                  <c:v>186.23014767454649</c:v>
                </c:pt>
                <c:pt idx="85">
                  <c:v>184.58045044808401</c:v>
                </c:pt>
                <c:pt idx="86">
                  <c:v>182.82273967771187</c:v>
                </c:pt>
                <c:pt idx="87">
                  <c:v>180.94595251231539</c:v>
                </c:pt>
                <c:pt idx="88">
                  <c:v>178.90144883494227</c:v>
                </c:pt>
                <c:pt idx="89">
                  <c:v>176.75961933119299</c:v>
                </c:pt>
                <c:pt idx="90">
                  <c:v>174.52316333849194</c:v>
                </c:pt>
                <c:pt idx="91">
                  <c:v>172.17700992443088</c:v>
                </c:pt>
                <c:pt idx="92">
                  <c:v>169.68474014893582</c:v>
                </c:pt>
                <c:pt idx="93">
                  <c:v>167.09598453298184</c:v>
                </c:pt>
                <c:pt idx="94">
                  <c:v>164.43339139791621</c:v>
                </c:pt>
                <c:pt idx="95">
                  <c:v>161.684842594908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28.88212432692447</c:v>
                </c:pt>
                <c:pt idx="43">
                  <c:v>133.16340782690799</c:v>
                </c:pt>
                <c:pt idx="44">
                  <c:v>137.54613870601756</c:v>
                </c:pt>
                <c:pt idx="45">
                  <c:v>141.86014139532722</c:v>
                </c:pt>
                <c:pt idx="46">
                  <c:v>145.93876040712382</c:v>
                </c:pt>
                <c:pt idx="47">
                  <c:v>149.8817292983627</c:v>
                </c:pt>
                <c:pt idx="48">
                  <c:v>153.87243939319814</c:v>
                </c:pt>
                <c:pt idx="49">
                  <c:v>157.96805730199941</c:v>
                </c:pt>
                <c:pt idx="50">
                  <c:v>162.13779855329025</c:v>
                </c:pt>
                <c:pt idx="51">
                  <c:v>166.56351881372902</c:v>
                </c:pt>
                <c:pt idx="52">
                  <c:v>171.02422905404566</c:v>
                </c:pt>
                <c:pt idx="53">
                  <c:v>175.11058866121476</c:v>
                </c:pt>
                <c:pt idx="54">
                  <c:v>179.04535925338121</c:v>
                </c:pt>
                <c:pt idx="55">
                  <c:v>183.00972745281024</c:v>
                </c:pt>
                <c:pt idx="56">
                  <c:v>187.04892549107996</c:v>
                </c:pt>
                <c:pt idx="57">
                  <c:v>191.18189504464223</c:v>
                </c:pt>
                <c:pt idx="58">
                  <c:v>195.36288790240468</c:v>
                </c:pt>
                <c:pt idx="59">
                  <c:v>199.55874106821517</c:v>
                </c:pt>
                <c:pt idx="60">
                  <c:v>203.66360547449193</c:v>
                </c:pt>
                <c:pt idx="61">
                  <c:v>207.6639452233519</c:v>
                </c:pt>
                <c:pt idx="62">
                  <c:v>211.58435510040928</c:v>
                </c:pt>
                <c:pt idx="63">
                  <c:v>215.42520265559463</c:v>
                </c:pt>
                <c:pt idx="64">
                  <c:v>219.15543572699883</c:v>
                </c:pt>
                <c:pt idx="65">
                  <c:v>222.79493435493129</c:v>
                </c:pt>
                <c:pt idx="66">
                  <c:v>226.31001809950484</c:v>
                </c:pt>
                <c:pt idx="67">
                  <c:v>229.70241095998702</c:v>
                </c:pt>
                <c:pt idx="68">
                  <c:v>232.90928581794577</c:v>
                </c:pt>
                <c:pt idx="69">
                  <c:v>235.94965271087636</c:v>
                </c:pt>
                <c:pt idx="70">
                  <c:v>238.82221578411207</c:v>
                </c:pt>
                <c:pt idx="71">
                  <c:v>241.45166479617171</c:v>
                </c:pt>
                <c:pt idx="72">
                  <c:v>243.87323786357811</c:v>
                </c:pt>
                <c:pt idx="73">
                  <c:v>246.08865423911186</c:v>
                </c:pt>
                <c:pt idx="74">
                  <c:v>248.06748922156206</c:v>
                </c:pt>
                <c:pt idx="75">
                  <c:v>249.80453174454379</c:v>
                </c:pt>
                <c:pt idx="76">
                  <c:v>251.30204199881342</c:v>
                </c:pt>
                <c:pt idx="77">
                  <c:v>252.55804163284571</c:v>
                </c:pt>
                <c:pt idx="78">
                  <c:v>253.52668596908654</c:v>
                </c:pt>
                <c:pt idx="79">
                  <c:v>254.23616657721465</c:v>
                </c:pt>
                <c:pt idx="80">
                  <c:v>254.6900079629101</c:v>
                </c:pt>
                <c:pt idx="81">
                  <c:v>254.86938553257266</c:v>
                </c:pt>
                <c:pt idx="82">
                  <c:v>254.76199548582221</c:v>
                </c:pt>
                <c:pt idx="83">
                  <c:v>254.40797520590431</c:v>
                </c:pt>
                <c:pt idx="84">
                  <c:v>253.78933539885548</c:v>
                </c:pt>
                <c:pt idx="85">
                  <c:v>252.87133499704839</c:v>
                </c:pt>
                <c:pt idx="86">
                  <c:v>251.72078493670219</c:v>
                </c:pt>
                <c:pt idx="87">
                  <c:v>250.32641096346677</c:v>
                </c:pt>
                <c:pt idx="88">
                  <c:v>248.6397983563906</c:v>
                </c:pt>
                <c:pt idx="89">
                  <c:v>246.73246232377076</c:v>
                </c:pt>
                <c:pt idx="90">
                  <c:v>244.60850432042938</c:v>
                </c:pt>
                <c:pt idx="91">
                  <c:v>242.25492137896128</c:v>
                </c:pt>
                <c:pt idx="92">
                  <c:v>239.63542793005865</c:v>
                </c:pt>
                <c:pt idx="93">
                  <c:v>236.80436913962149</c:v>
                </c:pt>
                <c:pt idx="94">
                  <c:v>233.78785841422163</c:v>
                </c:pt>
                <c:pt idx="95">
                  <c:v>230.57765587142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29.16096345257696</c:v>
                </c:pt>
                <c:pt idx="43">
                  <c:v>133.82300547750251</c:v>
                </c:pt>
                <c:pt idx="44">
                  <c:v>138.69865390009332</c:v>
                </c:pt>
                <c:pt idx="45">
                  <c:v>143.62382266598129</c:v>
                </c:pt>
                <c:pt idx="46">
                  <c:v>148.43951713882399</c:v>
                </c:pt>
                <c:pt idx="47">
                  <c:v>153.2486393424594</c:v>
                </c:pt>
                <c:pt idx="48">
                  <c:v>158.23940766739864</c:v>
                </c:pt>
                <c:pt idx="49">
                  <c:v>163.46934804398603</c:v>
                </c:pt>
                <c:pt idx="50">
                  <c:v>168.91046086306409</c:v>
                </c:pt>
                <c:pt idx="51">
                  <c:v>174.74414232760822</c:v>
                </c:pt>
                <c:pt idx="52">
                  <c:v>180.75077737121913</c:v>
                </c:pt>
                <c:pt idx="53">
                  <c:v>186.51906559498346</c:v>
                </c:pt>
                <c:pt idx="54">
                  <c:v>192.27022218651061</c:v>
                </c:pt>
                <c:pt idx="55">
                  <c:v>198.18219594385499</c:v>
                </c:pt>
                <c:pt idx="56">
                  <c:v>204.29348582575795</c:v>
                </c:pt>
                <c:pt idx="57">
                  <c:v>210.60726650213226</c:v>
                </c:pt>
                <c:pt idx="58">
                  <c:v>217.07340531783174</c:v>
                </c:pt>
                <c:pt idx="59">
                  <c:v>223.65113327095276</c:v>
                </c:pt>
                <c:pt idx="60">
                  <c:v>230.22921969449925</c:v>
                </c:pt>
                <c:pt idx="61">
                  <c:v>236.78241506566101</c:v>
                </c:pt>
                <c:pt idx="62">
                  <c:v>243.32607932085671</c:v>
                </c:pt>
                <c:pt idx="63">
                  <c:v>249.84850694288417</c:v>
                </c:pt>
                <c:pt idx="64">
                  <c:v>256.3053032576135</c:v>
                </c:pt>
                <c:pt idx="65">
                  <c:v>262.70288041142391</c:v>
                </c:pt>
                <c:pt idx="66">
                  <c:v>268.99586748734822</c:v>
                </c:pt>
                <c:pt idx="67">
                  <c:v>275.172353018389</c:v>
                </c:pt>
                <c:pt idx="68">
                  <c:v>281.15647698691816</c:v>
                </c:pt>
                <c:pt idx="69">
                  <c:v>286.95352977438426</c:v>
                </c:pt>
                <c:pt idx="70">
                  <c:v>292.54771210428248</c:v>
                </c:pt>
                <c:pt idx="71">
                  <c:v>297.84951875288505</c:v>
                </c:pt>
                <c:pt idx="72">
                  <c:v>302.87936172892387</c:v>
                </c:pt>
                <c:pt idx="73">
                  <c:v>307.62560973746554</c:v>
                </c:pt>
                <c:pt idx="74">
                  <c:v>312.0442752504282</c:v>
                </c:pt>
                <c:pt idx="75">
                  <c:v>316.11703319709051</c:v>
                </c:pt>
                <c:pt idx="76">
                  <c:v>319.83358687743566</c:v>
                </c:pt>
                <c:pt idx="77">
                  <c:v>323.18065453450936</c:v>
                </c:pt>
                <c:pt idx="78">
                  <c:v>326.10135316014515</c:v>
                </c:pt>
                <c:pt idx="79">
                  <c:v>328.61405682495865</c:v>
                </c:pt>
                <c:pt idx="80">
                  <c:v>330.71334102560343</c:v>
                </c:pt>
                <c:pt idx="81">
                  <c:v>332.37249359326415</c:v>
                </c:pt>
                <c:pt idx="82">
                  <c:v>333.57227221170911</c:v>
                </c:pt>
                <c:pt idx="83">
                  <c:v>334.34735939531714</c:v>
                </c:pt>
                <c:pt idx="84">
                  <c:v>334.67542097938195</c:v>
                </c:pt>
                <c:pt idx="85">
                  <c:v>334.51861950094155</c:v>
                </c:pt>
                <c:pt idx="86">
                  <c:v>333.94192590434659</c:v>
                </c:pt>
                <c:pt idx="87">
                  <c:v>332.93346268918003</c:v>
                </c:pt>
                <c:pt idx="88">
                  <c:v>331.44524348094291</c:v>
                </c:pt>
                <c:pt idx="89">
                  <c:v>329.55069613588893</c:v>
                </c:pt>
                <c:pt idx="90">
                  <c:v>327.25667651449714</c:v>
                </c:pt>
                <c:pt idx="91">
                  <c:v>324.55413991623811</c:v>
                </c:pt>
                <c:pt idx="92">
                  <c:v>321.40931313584832</c:v>
                </c:pt>
                <c:pt idx="93">
                  <c:v>317.88410476600251</c:v>
                </c:pt>
                <c:pt idx="94">
                  <c:v>314.01135413141947</c:v>
                </c:pt>
                <c:pt idx="95">
                  <c:v>309.790327627118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3092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26122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19692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58702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69324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1358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0794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226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673024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1286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952050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chart" Target="../charts/chart9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88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chart" Target="../charts/chart1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98.xml"/><Relationship Id="rId10" Type="http://schemas.openxmlformats.org/officeDocument/2006/relationships/tags" Target="../tags/tag103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chart" Target="../charts/chart1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08.xml"/><Relationship Id="rId10" Type="http://schemas.openxmlformats.org/officeDocument/2006/relationships/tags" Target="../tags/tag113.xml"/><Relationship Id="rId4" Type="http://schemas.openxmlformats.org/officeDocument/2006/relationships/tags" Target="../tags/tag107.xml"/><Relationship Id="rId9" Type="http://schemas.openxmlformats.org/officeDocument/2006/relationships/tags" Target="../tags/tag1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chart" Target="../charts/chart12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18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12" Type="http://schemas.openxmlformats.org/officeDocument/2006/relationships/chart" Target="../charts/chart13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28.xml"/><Relationship Id="rId10" Type="http://schemas.openxmlformats.org/officeDocument/2006/relationships/tags" Target="../tags/tag133.xml"/><Relationship Id="rId4" Type="http://schemas.openxmlformats.org/officeDocument/2006/relationships/tags" Target="../tags/tag127.xml"/><Relationship Id="rId9" Type="http://schemas.openxmlformats.org/officeDocument/2006/relationships/tags" Target="../tags/tag13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chart" Target="../charts/chart14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38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3" Type="http://schemas.openxmlformats.org/officeDocument/2006/relationships/tags" Target="../tags/tag146.xml"/><Relationship Id="rId7" Type="http://schemas.openxmlformats.org/officeDocument/2006/relationships/tags" Target="../tags/tag150.xml"/><Relationship Id="rId12" Type="http://schemas.openxmlformats.org/officeDocument/2006/relationships/chart" Target="../charts/chart15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48.xml"/><Relationship Id="rId10" Type="http://schemas.openxmlformats.org/officeDocument/2006/relationships/tags" Target="../tags/tag153.xml"/><Relationship Id="rId4" Type="http://schemas.openxmlformats.org/officeDocument/2006/relationships/tags" Target="../tags/tag147.xml"/><Relationship Id="rId9" Type="http://schemas.openxmlformats.org/officeDocument/2006/relationships/tags" Target="../tags/tag15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chart" Target="../charts/chart16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58.xml"/><Relationship Id="rId10" Type="http://schemas.openxmlformats.org/officeDocument/2006/relationships/tags" Target="../tags/tag163.xml"/><Relationship Id="rId4" Type="http://schemas.openxmlformats.org/officeDocument/2006/relationships/tags" Target="../tags/tag157.xml"/><Relationship Id="rId9" Type="http://schemas.openxmlformats.org/officeDocument/2006/relationships/tags" Target="../tags/tag16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chart" Target="../charts/chart17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68.xml"/><Relationship Id="rId10" Type="http://schemas.openxmlformats.org/officeDocument/2006/relationships/tags" Target="../tags/tag173.xml"/><Relationship Id="rId4" Type="http://schemas.openxmlformats.org/officeDocument/2006/relationships/tags" Target="../tags/tag167.xml"/><Relationship Id="rId9" Type="http://schemas.openxmlformats.org/officeDocument/2006/relationships/tags" Target="../tags/tag17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12" Type="http://schemas.openxmlformats.org/officeDocument/2006/relationships/chart" Target="../charts/chart18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78.xml"/><Relationship Id="rId10" Type="http://schemas.openxmlformats.org/officeDocument/2006/relationships/tags" Target="../tags/tag183.xml"/><Relationship Id="rId4" Type="http://schemas.openxmlformats.org/officeDocument/2006/relationships/tags" Target="../tags/tag177.xml"/><Relationship Id="rId9" Type="http://schemas.openxmlformats.org/officeDocument/2006/relationships/tags" Target="../tags/tag18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chart" Target="../charts/chart19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88.xml"/><Relationship Id="rId10" Type="http://schemas.openxmlformats.org/officeDocument/2006/relationships/tags" Target="../tags/tag193.xml"/><Relationship Id="rId4" Type="http://schemas.openxmlformats.org/officeDocument/2006/relationships/tags" Target="../tags/tag187.xml"/><Relationship Id="rId9" Type="http://schemas.openxmlformats.org/officeDocument/2006/relationships/tags" Target="../tags/tag19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chart" Target="../charts/chart20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tags" Target="../tags/tag19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98.xml"/><Relationship Id="rId10" Type="http://schemas.openxmlformats.org/officeDocument/2006/relationships/tags" Target="../tags/tag203.xml"/><Relationship Id="rId4" Type="http://schemas.openxmlformats.org/officeDocument/2006/relationships/tags" Target="../tags/tag197.xml"/><Relationship Id="rId9" Type="http://schemas.openxmlformats.org/officeDocument/2006/relationships/tags" Target="../tags/tag20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12" Type="http://schemas.openxmlformats.org/officeDocument/2006/relationships/chart" Target="../charts/chart21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08.xml"/><Relationship Id="rId10" Type="http://schemas.openxmlformats.org/officeDocument/2006/relationships/tags" Target="../tags/tag213.xml"/><Relationship Id="rId4" Type="http://schemas.openxmlformats.org/officeDocument/2006/relationships/tags" Target="../tags/tag207.xml"/><Relationship Id="rId9" Type="http://schemas.openxmlformats.org/officeDocument/2006/relationships/tags" Target="../tags/tag21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chart" Target="../charts/chart22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tags" Target="../tags/tag21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18.xml"/><Relationship Id="rId10" Type="http://schemas.openxmlformats.org/officeDocument/2006/relationships/tags" Target="../tags/tag223.xml"/><Relationship Id="rId4" Type="http://schemas.openxmlformats.org/officeDocument/2006/relationships/tags" Target="../tags/tag217.xml"/><Relationship Id="rId9" Type="http://schemas.openxmlformats.org/officeDocument/2006/relationships/tags" Target="../tags/tag22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31.xml"/><Relationship Id="rId3" Type="http://schemas.openxmlformats.org/officeDocument/2006/relationships/tags" Target="../tags/tag226.xml"/><Relationship Id="rId7" Type="http://schemas.openxmlformats.org/officeDocument/2006/relationships/tags" Target="../tags/tag230.xml"/><Relationship Id="rId12" Type="http://schemas.openxmlformats.org/officeDocument/2006/relationships/chart" Target="../charts/chart23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tags" Target="../tags/tag22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28.xml"/><Relationship Id="rId10" Type="http://schemas.openxmlformats.org/officeDocument/2006/relationships/tags" Target="../tags/tag233.xml"/><Relationship Id="rId4" Type="http://schemas.openxmlformats.org/officeDocument/2006/relationships/tags" Target="../tags/tag227.xml"/><Relationship Id="rId9" Type="http://schemas.openxmlformats.org/officeDocument/2006/relationships/tags" Target="../tags/tag23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41.xml"/><Relationship Id="rId3" Type="http://schemas.openxmlformats.org/officeDocument/2006/relationships/tags" Target="../tags/tag236.xml"/><Relationship Id="rId7" Type="http://schemas.openxmlformats.org/officeDocument/2006/relationships/tags" Target="../tags/tag240.xml"/><Relationship Id="rId12" Type="http://schemas.openxmlformats.org/officeDocument/2006/relationships/chart" Target="../charts/chart24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38.xml"/><Relationship Id="rId10" Type="http://schemas.openxmlformats.org/officeDocument/2006/relationships/tags" Target="../tags/tag243.xml"/><Relationship Id="rId4" Type="http://schemas.openxmlformats.org/officeDocument/2006/relationships/tags" Target="../tags/tag237.xml"/><Relationship Id="rId9" Type="http://schemas.openxmlformats.org/officeDocument/2006/relationships/tags" Target="../tags/tag24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3" Type="http://schemas.openxmlformats.org/officeDocument/2006/relationships/tags" Target="../tags/tag246.xml"/><Relationship Id="rId7" Type="http://schemas.openxmlformats.org/officeDocument/2006/relationships/tags" Target="../tags/tag250.xml"/><Relationship Id="rId12" Type="http://schemas.openxmlformats.org/officeDocument/2006/relationships/chart" Target="../charts/chart25.xml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48.xml"/><Relationship Id="rId10" Type="http://schemas.openxmlformats.org/officeDocument/2006/relationships/tags" Target="../tags/tag253.xml"/><Relationship Id="rId4" Type="http://schemas.openxmlformats.org/officeDocument/2006/relationships/tags" Target="../tags/tag247.xml"/><Relationship Id="rId9" Type="http://schemas.openxmlformats.org/officeDocument/2006/relationships/tags" Target="../tags/tag25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61.xml"/><Relationship Id="rId3" Type="http://schemas.openxmlformats.org/officeDocument/2006/relationships/tags" Target="../tags/tag256.xml"/><Relationship Id="rId7" Type="http://schemas.openxmlformats.org/officeDocument/2006/relationships/tags" Target="../tags/tag260.xml"/><Relationship Id="rId12" Type="http://schemas.openxmlformats.org/officeDocument/2006/relationships/chart" Target="../charts/chart26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58.xml"/><Relationship Id="rId10" Type="http://schemas.openxmlformats.org/officeDocument/2006/relationships/tags" Target="../tags/tag263.xml"/><Relationship Id="rId4" Type="http://schemas.openxmlformats.org/officeDocument/2006/relationships/tags" Target="../tags/tag257.xml"/><Relationship Id="rId9" Type="http://schemas.openxmlformats.org/officeDocument/2006/relationships/tags" Target="../tags/tag26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71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12" Type="http://schemas.openxmlformats.org/officeDocument/2006/relationships/chart" Target="../charts/chart27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68.xml"/><Relationship Id="rId10" Type="http://schemas.openxmlformats.org/officeDocument/2006/relationships/tags" Target="../tags/tag273.xml"/><Relationship Id="rId4" Type="http://schemas.openxmlformats.org/officeDocument/2006/relationships/tags" Target="../tags/tag267.xml"/><Relationship Id="rId9" Type="http://schemas.openxmlformats.org/officeDocument/2006/relationships/tags" Target="../tags/tag27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chart" Target="../charts/char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8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81.xml"/><Relationship Id="rId3" Type="http://schemas.openxmlformats.org/officeDocument/2006/relationships/tags" Target="../tags/tag276.xml"/><Relationship Id="rId7" Type="http://schemas.openxmlformats.org/officeDocument/2006/relationships/tags" Target="../tags/tag280.xml"/><Relationship Id="rId12" Type="http://schemas.openxmlformats.org/officeDocument/2006/relationships/chart" Target="../charts/chart28.xml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6" Type="http://schemas.openxmlformats.org/officeDocument/2006/relationships/tags" Target="../tags/tag27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78.xml"/><Relationship Id="rId10" Type="http://schemas.openxmlformats.org/officeDocument/2006/relationships/tags" Target="../tags/tag283.xml"/><Relationship Id="rId4" Type="http://schemas.openxmlformats.org/officeDocument/2006/relationships/tags" Target="../tags/tag277.xml"/><Relationship Id="rId9" Type="http://schemas.openxmlformats.org/officeDocument/2006/relationships/tags" Target="../tags/tag28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91.xml"/><Relationship Id="rId3" Type="http://schemas.openxmlformats.org/officeDocument/2006/relationships/tags" Target="../tags/tag286.xml"/><Relationship Id="rId7" Type="http://schemas.openxmlformats.org/officeDocument/2006/relationships/tags" Target="../tags/tag290.xml"/><Relationship Id="rId12" Type="http://schemas.openxmlformats.org/officeDocument/2006/relationships/chart" Target="../charts/chart29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tags" Target="../tags/tag28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88.xml"/><Relationship Id="rId10" Type="http://schemas.openxmlformats.org/officeDocument/2006/relationships/tags" Target="../tags/tag293.xml"/><Relationship Id="rId4" Type="http://schemas.openxmlformats.org/officeDocument/2006/relationships/tags" Target="../tags/tag287.xml"/><Relationship Id="rId9" Type="http://schemas.openxmlformats.org/officeDocument/2006/relationships/tags" Target="../tags/tag29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01.xml"/><Relationship Id="rId3" Type="http://schemas.openxmlformats.org/officeDocument/2006/relationships/tags" Target="../tags/tag296.xml"/><Relationship Id="rId7" Type="http://schemas.openxmlformats.org/officeDocument/2006/relationships/tags" Target="../tags/tag300.xml"/><Relationship Id="rId12" Type="http://schemas.openxmlformats.org/officeDocument/2006/relationships/chart" Target="../charts/chart30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tags" Target="../tags/tag29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98.xml"/><Relationship Id="rId10" Type="http://schemas.openxmlformats.org/officeDocument/2006/relationships/tags" Target="../tags/tag303.xml"/><Relationship Id="rId4" Type="http://schemas.openxmlformats.org/officeDocument/2006/relationships/tags" Target="../tags/tag297.xml"/><Relationship Id="rId9" Type="http://schemas.openxmlformats.org/officeDocument/2006/relationships/tags" Target="../tags/tag30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chart" Target="../charts/chart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8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chart" Target="../charts/chart4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38.xml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chart" Target="../charts/chart5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48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chart" Target="../charts/chart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58.xml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chart" Target="../charts/chart7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68.xml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chart" Target="../charts/chart8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78.xml"/><Relationship Id="rId10" Type="http://schemas.openxmlformats.org/officeDocument/2006/relationships/tags" Target="../tags/tag83.xml"/><Relationship Id="rId4" Type="http://schemas.openxmlformats.org/officeDocument/2006/relationships/tags" Target="../tags/tag77.xml"/><Relationship Id="rId9" Type="http://schemas.openxmlformats.org/officeDocument/2006/relationships/tags" Target="../tags/tag8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všech hospitalizovaných pacientů s COVID-19</a:t>
            </a:r>
          </a:p>
        </p:txBody>
      </p:sp>
    </p:spTree>
    <p:extLst>
      <p:ext uri="{BB962C8B-B14F-4D97-AF65-F5344CB8AC3E}">
        <p14:creationId xmlns:p14="http://schemas.microsoft.com/office/powerpoint/2010/main" val="2900904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rálovéhrad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0878797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EA1290F2-815E-4E77-BDA8-A803EF25A5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1338505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568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9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20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22228ACF-7CD9-4578-9AAF-5E73DF44EEE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FFC5E186-40D7-4AA0-AA0C-26ED7B58239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362607EA-E46F-4650-8FC2-0D41968E267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1C54862C-4084-4028-9A7A-8AD2A9E13A2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584F854E-CE34-49E4-A286-EF13774AA76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2053D4FC-4652-413F-9E18-69D044DA815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0875C23A-3825-4BA0-93C6-D8F5C50D299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FFF8E41D-257F-46B7-A033-007DD5DD6D6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637AE98E-E8C8-4446-AED9-9208A15A549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420125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Pardubi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901381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63A456BB-6EE8-458A-8025-400B7AB9BF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948071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30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0A3C2A8F-003F-4F1F-BD5F-5F846582335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11033E9F-7F63-45B9-8151-706EAC8F2B2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8ED680C4-A1DC-4716-A883-AEEE63F7D17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30C575BE-1055-4DDC-991F-DD92FEEEF60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C4F141E6-6ADD-477A-8595-D2E3551EE9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725CA9D7-8A86-4A1E-9CFE-3FB527ABEB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6D31FF1E-5709-4321-AC97-AD85F0E5E30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558E2203-9546-4058-880F-7713E3B708E3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DE543B59-D7F4-47F0-84A3-817A14C39FF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0662726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raj Vysočin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327145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B003AD89-74F2-4C7D-8A8D-A6B35AE0AB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694843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7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EAEB9AAD-B223-4069-89EF-26AEA0A466C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21D2A9F7-A670-470B-9F6A-6D239E1A4C7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EA2EAAB-BD26-46AB-91A5-9FB2009F49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9DC28F7F-06EF-4133-BF51-254219C3734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D04F1CC1-1A1F-471B-BC91-851971E3EF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1AF0EAE8-B444-4387-8F6D-13604C65E3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AD651157-6645-4E07-BC22-2D392707096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11EFAED3-7042-4E3C-8BD4-39F29DB68F57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5C7F22CB-31B3-4781-9E5E-D69C1906EAA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499191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Jihomorav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7079150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D7D11669-91D9-4D49-BD48-8090920A96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456287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0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81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9FE21065-745F-4CF7-BEC5-D790548DCE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A9A8C5BA-26C5-4E88-9F5B-549ACDBA485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795D034-72FD-4F2B-9BDA-3E37A4BAAA6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C1801E2B-5217-4A40-9887-D4D8D0FE3EFF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446DFC13-8F3A-43EB-9A7A-C47031E55F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31D5C6F4-F0BB-45A0-AFB5-FC7A59EFDB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48E88BBB-CEF4-455A-A6CB-89AACCEBEEF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A56BD0F1-34E8-451A-B545-A8CAB7B35E7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4B908267-772A-4AD8-AD63-D229CC03B90D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0308795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Olomou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6680166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9AA1E0B2-30C4-47B2-A424-95DD0FF09C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897369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44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0F4E34F5-1FC7-41D7-B163-BF7CB16DEAE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4BA41014-4710-4B2C-8B9B-CE364DC7B27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412BE6D-E3DD-405B-9125-E1983C498CE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781EB1CB-A6E0-4C2E-BBEB-5A886BFA0B82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2D0892E9-1C7E-4122-878D-E892305774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5070B2B3-A181-438C-A074-A7E1C56862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F65BB0FD-DC36-40C2-9909-8698039BF22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8AF40BEF-ABBC-43DC-BC96-5261948D8D88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3965F16B-0BC3-40DA-A435-40E4BDD5FB6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8943791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Zlín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763662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5491C776-25C3-4CCF-88A4-6E88E6DF03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248164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3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25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AB7B89F5-9E5C-413C-9088-60A2FF9C34E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A8FD8B7A-0889-4877-BD58-B4D3CA59F40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CBA2465C-A495-4FC7-B4C0-C511920ECF1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78BE8454-A881-4D19-9959-77D01E71517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6D59F5C8-1C76-4C26-9C99-3540CCF7D51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671701B3-412E-420E-8E3B-17D1B521D3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9A8241B5-7F27-4753-A708-86E13ECE39C2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D5EE1853-4C5A-46F4-B2A6-4E6EBC07913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6C1A3239-2E02-4A69-815F-1254C67BA15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7701840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Moravskoslez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389607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8547AB05-2A2A-4676-AD2C-F68CA679A2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290907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1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7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64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00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7E497D40-406B-4BD3-AB37-B485391D486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5E5A8814-F3D4-4B99-AB8A-B90780FF789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8757A9DD-3159-4CAE-B2D9-10B9C7EE8CD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A2698650-1F2D-45F6-B266-61A1B3AB100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4BCD3C83-1A0E-404D-A2F3-39817A754C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C85F3700-D166-4C74-8687-D47DBC586F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C2C08FB3-291B-4047-8071-47F4BA2C1B5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203ADC85-F4C8-4289-B371-0686E3BEB21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626E81C-A814-4C7F-9864-B2F470B95AD8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001975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ě hospitalizovaných pacientů s COVID19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11378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6977474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48091EBD-070E-4D59-BE0C-94423E37605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a rozsah pravděpodobnostních predikcí 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5773D9BE-2780-4D7B-BD5F-FB1A43B7D84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FD9D97AA-7D55-45FF-945E-17DD0E05567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B2F10687-2A0C-4C58-B4C5-2F508D5E25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82E8D21E-CBB2-4AD3-A43B-110304C8FE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AC2FA29B-586A-49A9-B0A3-28D8C047433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E957D0AB-AF67-4B21-AD1D-2417706D9C82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6F6B4381-96B5-43D3-8999-3BDBF1C6603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6600786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481902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36C59C06-1871-4288-BD74-1C148E975EB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A9C1AE5A-2243-447C-B083-78752FD0652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508FC161-0C95-493E-A87F-3EE86B6213A4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355AC7B1-2172-4E56-ADB6-7BBD8DD1D4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E4D59DC9-EE68-46BD-8E23-ECE839D15E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0710E6FD-92C6-4778-9BCA-38D55467D00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54F88105-4F79-4979-BE53-2CF2DF795692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4BB185D0-B5FC-484B-9144-700136EB1369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12699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021135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D6343BC7-DFB6-4457-B2D5-8801669B23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459885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 7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 1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3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09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3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 01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1584722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908305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C2A5CD62-86F4-471D-A895-A796B9FEADF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CA1CC31-E24B-4215-85E4-4DAA3224F65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8656B506-B33B-4DD5-A179-721934EC03F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CFF021AB-47C5-402B-BD29-840F1A7E93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D41162A8-6BB0-4C0B-9B2E-CD9E29C39E0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A70E9D0C-2A3C-458E-8A3B-A31C5CF4270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A5F2E2C8-00DB-4D69-ACB4-7D6C3B985C18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871F3440-C59D-492D-AB6F-551E143A997F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477868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22514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28421681-8241-414C-8F89-B24E6247249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946C16D-256E-4E13-9B73-CA24C25B268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D27EBDD3-9B79-4EC7-885D-39B51B777A2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2C83399B-EE36-4F1A-A195-FD578ABFCA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2862C1BF-205B-4C5F-AA0A-7EBC2427A3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A3470EB4-47CC-490F-A824-D976669B634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B56622D4-EC36-4FAA-805E-1FE298037D5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137CC735-8457-4FA6-92C9-F5D101380FA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04735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ň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658792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3F2E78CB-61BB-4523-85D6-8858302B5D3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D94FF35-BE35-4540-8DA8-3F80E6CD9C6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48CE6259-E181-4457-B71C-2E18D41D88F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BB068139-94A5-4E0B-A6C4-ABE77EE1965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8570501D-CA2D-4AE1-9FA3-9E145C2C7FC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F6D50A99-381E-4088-B141-86E56D2CDA5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690C2713-828C-4F5C-98AF-AD79CB00E4E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3A998856-A943-4560-A949-753B1DB508DC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525382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716496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940E6400-6AEF-4D83-BC50-3A2561FD220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467B89E-6B26-4F23-ACAB-EF416B93047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32D124AD-A7AE-480E-B69E-2A5FC0CBBA4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CB8E0EE7-5BC9-43EE-A4B3-B36ED89D92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0A239023-9B46-4CB3-8002-F187CA0AAF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E9310435-5409-407C-8A48-68855A519AE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07D414A0-11CD-4C7D-B5C0-17E49A1A4C37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278C342-1404-4EE5-829E-BC3B87509FB5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523150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743708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06B81427-F450-4E81-890D-5D59C966E7B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4DE5BB8-E21A-47E9-AA2C-4D9ACB03A31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4E8DA1B0-1172-42D0-852C-B50C2786587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35B2BBCF-592E-47A4-A43C-15E7143266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C6979F3D-87D0-4C0D-BF80-5769AEE8BD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D64684E3-3BD2-40CD-AACE-17746058A896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D782F64C-184F-4CD5-B4BB-E582F60122DC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2D799674-75D9-4A55-AE0C-38D86CC54CB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3174576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230264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AA525C2B-9A0C-426D-8745-4B19313C636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C716F446-7902-4E90-B2E7-1A99CB85C2A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F06ABB72-9E29-4F9F-BDD5-04B8A26BA8D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0C07825B-1224-435D-B053-1E0A59B6EA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638BD0BE-C861-40F6-9C8C-9F1E980A5E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541A6B6D-24EC-435D-BCCB-4F7495AC301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0E00ECF6-BBB7-47C8-B909-DB722F36667E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817E29B-A217-4645-A987-02CD89151511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7420055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33015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FA35E7A7-6D8E-4BFA-AE48-11C21B2331D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2734495F-4C36-492F-A2F6-4CE429DB403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68211A21-4321-439A-B3A8-4867C11F2E95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DCB41AAA-4B64-4FCE-8FE1-648FC1BE464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4C9AEF2A-6538-4F7B-A77A-45255AB859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72E2A46B-8EF8-454B-AC19-8193B88D23A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800AD393-16DA-404F-8046-54A2C8510CA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F252ADFC-3AA0-471F-BA88-485921B6841C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4615932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Pardubický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723944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FAF89CB5-AE5E-4F3B-BFD7-11FCBF3CEF1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1AEB91EC-B4E7-424C-91B1-78E3D2D73B1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7A9ACF2E-929A-40E2-8384-1FE2162AB594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C33D9CCA-1861-4A93-9F80-4BC855E0BE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2FD342C0-1A41-41FF-AF0C-B495679DA0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E32CDFB0-3CDF-447A-9FC9-F3B5FAA1AEA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83AA3C7B-E15C-4020-A149-71F316E0E1A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CB7D4ECE-91C4-4007-A5AD-D3B5058A7C3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904622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Kraj Vysočina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257662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4E832CD2-059B-4081-BBA3-62514CF3FC8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C160D7B-F9C5-494C-8DF5-038DEBF9249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AB8BF1F2-2390-458A-9D0E-AC84B649F5A2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F7A0CCFA-5B93-42AB-8AD7-E74263D961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CCD69E0A-EBBC-49E7-802C-F617D4FDDA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4AF75B12-CDD8-4D11-80C1-E9AC885F8D6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7E66710A-1F78-4717-9C8D-0E3865C706C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1D6D2776-3F36-4093-8B02-86FBDC00D26A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90743364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383722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F1408BF7-7A1F-4C24-B955-BCB8981BABA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1451D9A-B939-436C-BCA9-C852B47A25C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4B91AAE2-5A07-4069-87A8-8EDFD673A472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75D79C0F-BAC9-4C49-8522-410FD8225D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2AEE719E-3FDD-49DA-B7AB-D17C32E4F8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26B2DA18-4934-4292-9CEF-90D6876DABC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B7920B66-AEF0-4FB3-BE3F-1AC4B6877E63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DCDDBDA-AD98-4105-A4EE-DCA4BA409ED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1122869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Hl. m. Prah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1745513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85EA1A50-CA09-4C13-AA12-495BA64BD1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114076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8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7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2EAC5D20-9494-4541-A51D-5B2450E08BD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97FA661B-5C85-4745-89A5-14D68C9B1EF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A0B17412-4358-4D84-887D-7A6B93316F0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3A1C7A3D-A650-48AB-89EB-2B2F81152B4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DCDD40D8-E641-4D43-91CE-9BECE2668C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46F48C32-5D67-4F60-9EB7-A6AB13CCD7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" name="Obdélník 41">
                <a:extLst>
                  <a:ext uri="{FF2B5EF4-FFF2-40B4-BE49-F238E27FC236}">
                    <a16:creationId xmlns:a16="http://schemas.microsoft.com/office/drawing/2014/main" id="{951599E4-6B30-4B13-9E64-0CA4ACDAC2AA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ovéPole 28">
                <a:extLst>
                  <a:ext uri="{FF2B5EF4-FFF2-40B4-BE49-F238E27FC236}">
                    <a16:creationId xmlns:a16="http://schemas.microsoft.com/office/drawing/2014/main" id="{3643A85B-54B9-4147-A57F-DE591B66F762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D2EBC2A-B041-479C-9D12-61A4E878F7C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12094210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962587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B62F5418-6002-4245-9351-64A23E10A33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E506D279-5905-46CD-ADD6-58FE6AE5A6F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8A4760D2-0E25-4D9F-B8FF-3BE754CD14EF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D897D943-0B24-4C4F-969B-B270CE7950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8DD233D9-0E1F-4755-8392-71A72F1C12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644EA36B-E22C-4B09-AEA5-71D1E45D9EF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E52CB620-2163-499E-A51F-3386B5F607F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2407EEC8-98B2-4F00-AD93-F23D0BD4EA76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7280557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4933338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ECDDF8F2-CFCC-4552-8C4F-149630363C0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2C5F1D6C-BF85-49E1-9153-CD56F92CB8A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8016E210-C9D0-456F-ABF3-9D4CB265898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891F0002-8C38-4405-860D-514B8DB399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96345DD1-C91A-4E05-80EE-7BF4936923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BE10DC78-4908-4E64-82C3-C34F96E8F2E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97926EE1-C613-4318-B32A-3D0E7E174B8E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CBC7F35-18CF-44C1-8733-B55FC7966B2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00692531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3440769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3E9C9E7A-FA87-4DBB-A436-1FDDE558C10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411C8B60-A7A3-43FF-914E-36F391DBA47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A651CCAE-BA1A-41C1-BC58-13224AB94285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5EE8D4F5-94C1-485D-8F45-7A6EB4095C5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5431AB2A-9E94-49DA-8A6D-ACF7A0BFE3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06691F0B-3347-472D-889C-BB3AB248881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667BF979-107A-49A0-B6E9-61B2D05249A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CA37DC45-2F59-40F7-BCE6-5F40E3E4C0F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2311363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Střed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228188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AB31928B-39D5-43D0-B420-8A2F7BA0C6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25924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35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A8CDCADB-A3F2-4269-9E77-CE5D8F99CB3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36175540-49BD-4BAC-B490-D5F23368304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B5D307EC-04D1-4464-9577-1C38D6FDD7D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9257D171-288A-491E-93E1-08D0B99F4898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79019A41-9457-41A3-9A6E-897BA3BB9F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BD21BEBC-D965-4BEE-BEC8-4CED2020CB9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14191C9F-37C6-417C-94C8-A4E8033287F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0174CF30-3463-4E4C-B188-959D7161E1DD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BF1D6AE8-DE48-457C-94F7-209360705B68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3967684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Jih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104599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D866C6DE-1D72-43A4-A8A1-C461087DD8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797297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5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86F985E0-9341-4882-96BA-997FA5EBB83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C01A9362-0875-4914-B511-7C0E1D0090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33E1DD09-901B-4470-95C8-D57B7C4C2C9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F3A1DC4E-B4E8-4D19-BF6E-C7C9BF7650C8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B32787C0-AAE0-4405-805D-F4DC6DA5BC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F47B13CD-FB7A-4D60-B259-365074A0C9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457B094C-ED07-4C62-A216-09553ED98C6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58704BF5-3E5D-4D8C-92EE-B0A6B499D445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F25F0CE2-6EAB-45F3-980A-280E6292169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6503771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Plzeň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320055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D636F594-B313-4D9D-8999-3FF16FA26E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9749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45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C83D12C4-FAD3-404F-A2B8-9202BEA0038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8A1B916A-B40C-4F89-81A5-1D057A43EB5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D4C4F29-C9D4-4DF3-AB8C-E5A16B5A71D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5990A630-CC2D-4907-94EC-42F1446B087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8CE5C0DA-AD05-4269-8A44-C839745F87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567B8871-CEA4-4F0C-8C60-300B0A1A82F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384BB410-1FC3-4197-B705-C6232E9793D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32317E6E-DEF9-4543-B417-0C7265B8390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DF91D205-3885-4125-B3F4-0CF30BE36946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630786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arlovar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796818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D3072AD6-CB14-43F6-9D7B-B37F722579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915060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04096EA9-FEB9-4B09-B5E9-ADFCA020F27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E5B2474D-0786-452F-943D-B70CE5B7697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4DF09A3-2639-4FF7-9E2C-352D52CF5CC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986148BD-2331-4EEC-B60F-B2FA72BF01F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988345C0-07DB-4D1D-822B-1FCD6FF053E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EF54E024-0AB8-4D0C-9FEB-6DDB083AC6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0E53A28D-200A-4687-AB3E-863B6B5A1FB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782A281D-9A6E-4AF3-89C9-9C87FD7BA478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E851992F-38A0-476A-93BC-416D6181CBB8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958989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Úst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668327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F3F89B05-A2B8-47B0-BF3F-1F452BD090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191483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2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C1614B88-1FFD-4EC9-84ED-B9E3DAC385C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0EC5F5D3-CFF9-424F-86BE-D713710C5DE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A65E3659-44AC-4647-A0E0-4309BE98787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8E302235-0A5D-4D07-90BB-D5EE473A355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FEBE29CF-D7A9-482F-A7B7-6E9A663386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106E29D7-AD33-4354-9508-706B895EBAC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E4655915-2765-4C39-9B6C-C032BD1AD70A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49C44AC5-0D73-42BC-A3AB-02F644D2075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3025FB39-BD6A-45F2-99E3-DC4076DAF37F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334364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Liber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8967441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E599544A-E3FC-4C5C-AEBF-50B887CCB1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11890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8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18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95E8882E-0CA9-46D0-887E-AB1C0BDB9BB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361FFBFC-B934-4D45-B1F1-2C4E9DCDD3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3D71190F-D14D-4E84-84FF-2A94E570238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8C33525C-BE55-439A-A080-1A78C134B34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A0C27147-5ED1-40BE-8CD8-73207A2131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DDE1929E-E264-4A06-88EA-0B9677FB9C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0D4E585C-EF92-4C9E-A39C-49138884A36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8650C12E-3DEF-45D9-87FA-8868CC705F43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593553-636E-4632-8D48-BF483ECF2C7D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143559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24</TotalTime>
  <Words>3409</Words>
  <Application>Microsoft Office PowerPoint</Application>
  <PresentationFormat>Širokoúhlá obrazovka</PresentationFormat>
  <Paragraphs>844</Paragraphs>
  <Slides>32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KKIP03</vt:lpstr>
      <vt:lpstr>8_Motiv Office</vt:lpstr>
      <vt:lpstr>Epidemie COVID-19 v ČR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Epidemie COVID-19 v ČR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Pohlová Radka Mgr.</cp:lastModifiedBy>
  <cp:revision>440</cp:revision>
  <dcterms:created xsi:type="dcterms:W3CDTF">2021-03-07T17:05:03Z</dcterms:created>
  <dcterms:modified xsi:type="dcterms:W3CDTF">2021-11-21T18:54:48Z</dcterms:modified>
</cp:coreProperties>
</file>